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4"/>
    <p:sldMasterId id="2147483779" r:id="rId5"/>
    <p:sldMasterId id="2147483794" r:id="rId6"/>
    <p:sldMasterId id="2147483806" r:id="rId7"/>
  </p:sldMasterIdLst>
  <p:notesMasterIdLst>
    <p:notesMasterId r:id="rId16"/>
  </p:notesMasterIdLst>
  <p:handoutMasterIdLst>
    <p:handoutMasterId r:id="rId17"/>
  </p:handoutMasterIdLst>
  <p:sldIdLst>
    <p:sldId id="733" r:id="rId8"/>
    <p:sldId id="741" r:id="rId9"/>
    <p:sldId id="736" r:id="rId10"/>
    <p:sldId id="734" r:id="rId11"/>
    <p:sldId id="731" r:id="rId12"/>
    <p:sldId id="728" r:id="rId13"/>
    <p:sldId id="740" r:id="rId14"/>
    <p:sldId id="739" r:id="rId15"/>
  </p:sldIdLst>
  <p:sldSz cx="9144000" cy="6858000" type="screen4x3"/>
  <p:notesSz cx="6735763" cy="9866313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9D116A8B-E8D6-4874-8A84-3353FCED4ACA}">
          <p14:sldIdLst>
            <p14:sldId id="733"/>
            <p14:sldId id="741"/>
            <p14:sldId id="736"/>
            <p14:sldId id="734"/>
            <p14:sldId id="731"/>
            <p14:sldId id="728"/>
            <p14:sldId id="740"/>
            <p14:sldId id="7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rene Olaussen" initials="IO" lastIdx="2" clrIdx="0"/>
  <p:cmAuthor id="1" name="Anita Lindholt" initials="AL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44"/>
    <a:srgbClr val="CCFFFF"/>
    <a:srgbClr val="0093A7"/>
    <a:srgbClr val="7642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iddels stil 2 - aks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ddels stil 2 - aks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Lys stil 3 - aks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43" autoAdjust="0"/>
    <p:restoredTop sz="95027" autoAdjust="0"/>
  </p:normalViewPr>
  <p:slideViewPr>
    <p:cSldViewPr snapToObjects="1">
      <p:cViewPr varScale="1">
        <p:scale>
          <a:sx n="72" d="100"/>
          <a:sy n="72" d="100"/>
        </p:scale>
        <p:origin x="1662" y="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20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>
        <p:scale>
          <a:sx n="90" d="100"/>
          <a:sy n="90" d="100"/>
        </p:scale>
        <p:origin x="-2754" y="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r">
              <a:defRPr sz="1200"/>
            </a:lvl1pPr>
          </a:lstStyle>
          <a:p>
            <a:fld id="{BCD82850-FA18-4199-A20F-8B6D7947E358}" type="datetimeFigureOut">
              <a:rPr lang="nb-NO" smtClean="0"/>
              <a:t>03.04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1" y="9371285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r">
              <a:defRPr sz="1200"/>
            </a:lvl1pPr>
          </a:lstStyle>
          <a:p>
            <a:fld id="{3BB3256C-F943-454E-A62F-4808CAEBFE1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902958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r">
              <a:defRPr sz="1200"/>
            </a:lvl1pPr>
          </a:lstStyle>
          <a:p>
            <a:fld id="{23BF4E9B-EC91-4D6A-95C2-760E78FEA15A}" type="datetimeFigureOut">
              <a:rPr lang="en-GB" smtClean="0"/>
              <a:t>03/04/2019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9" tIns="45710" rIns="91419" bIns="4571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686501"/>
            <a:ext cx="5388610" cy="4439841"/>
          </a:xfrm>
          <a:prstGeom prst="rect">
            <a:avLst/>
          </a:prstGeom>
        </p:spPr>
        <p:txBody>
          <a:bodyPr vert="horz" lIns="91419" tIns="45710" rIns="91419" bIns="4571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r">
              <a:defRPr sz="1200"/>
            </a:lvl1pPr>
          </a:lstStyle>
          <a:p>
            <a:fld id="{BF106C09-2B7A-40C7-B480-A62D5F51D1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40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35537" cy="370046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91EBB-80F8-43BC-BCC6-078EA46124D0}" type="slidenum">
              <a:rPr lang="nb-NO" smtClean="0"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08407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1147763" y="1233488"/>
            <a:ext cx="4440237" cy="3328987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B0713D-FAD2-A145-A06A-FBACC56C2A01}" type="slidenum">
              <a:rPr lang="nb-NO" smtClean="0">
                <a:solidFill>
                  <a:prstClr val="black"/>
                </a:solidFill>
              </a:rPr>
              <a:pPr/>
              <a:t>4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368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06C09-2B7A-40C7-B480-A62D5F51D17D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2870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06C09-2B7A-40C7-B480-A62D5F51D17D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62870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35537" cy="370046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691EBB-80F8-43BC-BCC6-078EA46124D0}" type="slidenum">
              <a:rPr lang="nb-NO" smtClean="0">
                <a:solidFill>
                  <a:prstClr val="black"/>
                </a:solidFill>
              </a:rPr>
              <a:pPr/>
              <a:t>8</a:t>
            </a:fld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840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6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39552" y="2060849"/>
            <a:ext cx="7772400" cy="122413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39552" y="350100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357348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E96D1B-427A-402D-BDA6-7B36E50BC793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39FF91-B1B0-4E3A-9529-B645FCAD139A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427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75138"/>
            <a:ext cx="20574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75138"/>
            <a:ext cx="60198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A6B90-E6D3-4D64-8596-B859D473DAC2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29775-77FC-4164-A1E5-860BEA554406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075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3860" y="476673"/>
            <a:ext cx="8236286" cy="936104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lvl="0"/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E41285-D9E7-410A-820B-51D80ACB53B6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fld id="{86E0A23E-EB93-482D-80B9-789C38609925}" type="datetime1">
              <a:rPr lang="nb-NO" sz="1400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sz="14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</p:spTree>
    <p:extLst>
      <p:ext uri="{BB962C8B-B14F-4D97-AF65-F5344CB8AC3E}">
        <p14:creationId xmlns:p14="http://schemas.microsoft.com/office/powerpoint/2010/main" val="311634886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icture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981200"/>
            <a:ext cx="91440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3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-3175" y="981075"/>
            <a:ext cx="9147175" cy="5711825"/>
          </a:xfrm>
          <a:custGeom>
            <a:avLst/>
            <a:gdLst/>
            <a:ahLst/>
            <a:cxnLst>
              <a:cxn ang="0">
                <a:pos x="0" y="3638"/>
              </a:cxn>
              <a:cxn ang="0">
                <a:pos x="516" y="2658"/>
              </a:cxn>
              <a:cxn ang="0">
                <a:pos x="1352" y="2063"/>
              </a:cxn>
              <a:cxn ang="0">
                <a:pos x="3348" y="1519"/>
              </a:cxn>
              <a:cxn ang="0">
                <a:pos x="4987" y="1078"/>
              </a:cxn>
              <a:cxn ang="0">
                <a:pos x="5762" y="534"/>
              </a:cxn>
              <a:cxn ang="0">
                <a:pos x="5762" y="66"/>
              </a:cxn>
              <a:cxn ang="0">
                <a:pos x="4" y="68"/>
              </a:cxn>
            </a:cxnLst>
            <a:rect l="0" t="0" r="r" b="b"/>
            <a:pathLst>
              <a:path w="5762" h="3638">
                <a:moveTo>
                  <a:pt x="0" y="3638"/>
                </a:moveTo>
                <a:cubicBezTo>
                  <a:pt x="58" y="3452"/>
                  <a:pt x="291" y="2920"/>
                  <a:pt x="516" y="2658"/>
                </a:cubicBezTo>
                <a:cubicBezTo>
                  <a:pt x="794" y="2320"/>
                  <a:pt x="1284" y="2093"/>
                  <a:pt x="1352" y="2063"/>
                </a:cubicBezTo>
                <a:cubicBezTo>
                  <a:pt x="1942" y="1786"/>
                  <a:pt x="2872" y="1624"/>
                  <a:pt x="3348" y="1519"/>
                </a:cubicBezTo>
                <a:cubicBezTo>
                  <a:pt x="3895" y="1390"/>
                  <a:pt x="4592" y="1228"/>
                  <a:pt x="4987" y="1078"/>
                </a:cubicBezTo>
                <a:cubicBezTo>
                  <a:pt x="5384" y="933"/>
                  <a:pt x="5632" y="702"/>
                  <a:pt x="5762" y="534"/>
                </a:cubicBezTo>
                <a:cubicBezTo>
                  <a:pt x="5762" y="0"/>
                  <a:pt x="5762" y="61"/>
                  <a:pt x="5762" y="66"/>
                </a:cubicBezTo>
                <a:cubicBezTo>
                  <a:pt x="4803" y="66"/>
                  <a:pt x="1204" y="68"/>
                  <a:pt x="4" y="68"/>
                </a:cubicBezTo>
              </a:path>
            </a:pathLst>
          </a:custGeom>
          <a:solidFill>
            <a:srgbClr val="DDDDDD"/>
          </a:solidFill>
          <a:ln w="19050" cap="flat" cmpd="sng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endParaRPr lang="nb-NO" sz="2400">
              <a:solidFill>
                <a:srgbClr val="969696"/>
              </a:solidFill>
              <a:latin typeface="Arial" charset="0"/>
              <a:cs typeface="Arial" charset="0"/>
            </a:endParaRPr>
          </a:p>
        </p:txBody>
      </p:sp>
      <p:grpSp>
        <p:nvGrpSpPr>
          <p:cNvPr id="6" name="Group 6"/>
          <p:cNvGrpSpPr>
            <a:grpSpLocks/>
          </p:cNvGrpSpPr>
          <p:nvPr/>
        </p:nvGrpSpPr>
        <p:grpSpPr bwMode="auto">
          <a:xfrm>
            <a:off x="1354138" y="96838"/>
            <a:ext cx="6602412" cy="425450"/>
            <a:chOff x="766" y="61"/>
            <a:chExt cx="4159" cy="268"/>
          </a:xfrm>
        </p:grpSpPr>
        <p:pic>
          <p:nvPicPr>
            <p:cNvPr id="7" name="Picture 7"/>
            <p:cNvPicPr>
              <a:picLocks noChangeAspect="1" noChangeArrowheads="1"/>
            </p:cNvPicPr>
            <p:nvPr/>
          </p:nvPicPr>
          <p:blipFill>
            <a:blip r:embed="rId4" cstate="print"/>
            <a:srcRect l="1567" t="28194" r="76567" b="22275"/>
            <a:stretch>
              <a:fillRect/>
            </a:stretch>
          </p:blipFill>
          <p:spPr bwMode="auto">
            <a:xfrm>
              <a:off x="2960" y="104"/>
              <a:ext cx="905" cy="22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5" cstate="print"/>
            <a:srcRect l="45935" r="37485" b="40575"/>
            <a:stretch>
              <a:fillRect/>
            </a:stretch>
          </p:blipFill>
          <p:spPr bwMode="auto">
            <a:xfrm>
              <a:off x="4036" y="86"/>
              <a:ext cx="889" cy="23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9" name="Picture 9"/>
            <p:cNvPicPr>
              <a:picLocks noChangeAspect="1" noChangeArrowheads="1"/>
            </p:cNvPicPr>
            <p:nvPr/>
          </p:nvPicPr>
          <p:blipFill>
            <a:blip r:embed="rId5" cstate="print"/>
            <a:srcRect l="3194" r="80669" b="34589"/>
            <a:stretch>
              <a:fillRect/>
            </a:stretch>
          </p:blipFill>
          <p:spPr bwMode="auto">
            <a:xfrm>
              <a:off x="766" y="90"/>
              <a:ext cx="789" cy="23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0" name="Picture 10"/>
            <p:cNvPicPr>
              <a:picLocks noChangeAspect="1" noChangeArrowheads="1"/>
            </p:cNvPicPr>
            <p:nvPr/>
          </p:nvPicPr>
          <p:blipFill>
            <a:blip r:embed="rId5" cstate="print"/>
            <a:srcRect l="20978" t="-10643" r="56841" b="37914"/>
            <a:stretch>
              <a:fillRect/>
            </a:stretch>
          </p:blipFill>
          <p:spPr bwMode="auto">
            <a:xfrm>
              <a:off x="1725" y="61"/>
              <a:ext cx="1065" cy="2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</p:grp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797175" y="571500"/>
            <a:ext cx="35290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80975" indent="-180975" algn="ctr" defTabSz="739775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00468C"/>
              </a:buClr>
              <a:buFont typeface="Wingdings" pitchFamily="2" charset="2"/>
              <a:buNone/>
              <a:tabLst>
                <a:tab pos="5818188" algn="r"/>
              </a:tabLst>
              <a:defRPr/>
            </a:pPr>
            <a:endParaRPr lang="fi-FI" sz="1300" b="1">
              <a:solidFill>
                <a:srgbClr val="00468C"/>
              </a:solidFill>
              <a:cs typeface="Arial" charset="0"/>
            </a:endParaRPr>
          </a:p>
        </p:txBody>
      </p:sp>
      <p:sp>
        <p:nvSpPr>
          <p:cNvPr id="22118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2339975"/>
            <a:ext cx="7372350" cy="631825"/>
          </a:xfrm>
        </p:spPr>
        <p:txBody>
          <a:bodyPr lIns="972000" tIns="72000" rIns="72000" bIns="72000"/>
          <a:lstStyle>
            <a:lvl1pPr marL="0" indent="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nb-NO" altLang="en-US"/>
              <a:t>Sub-title and/or name</a:t>
            </a:r>
          </a:p>
          <a:p>
            <a:r>
              <a:rPr lang="nb-NO" altLang="en-US"/>
              <a:t>Arial narrow, 20pt - maximum 2 lines)</a:t>
            </a:r>
            <a:endParaRPr lang="nb-NO"/>
          </a:p>
        </p:txBody>
      </p:sp>
      <p:sp>
        <p:nvSpPr>
          <p:cNvPr id="2211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1252538"/>
            <a:ext cx="9144000" cy="1101725"/>
          </a:xfrm>
        </p:spPr>
        <p:txBody>
          <a:bodyPr lIns="972000" tIns="360000" bIns="72000" anchor="b"/>
          <a:lstStyle>
            <a:lvl1pPr fontAlgn="t">
              <a:lnSpc>
                <a:spcPct val="100000"/>
              </a:lnSpc>
              <a:defRPr>
                <a:solidFill>
                  <a:schemeClr val="tx2"/>
                </a:solidFill>
              </a:defRPr>
            </a:lvl1pPr>
          </a:lstStyle>
          <a:p>
            <a:r>
              <a:rPr lang="nb-NO" altLang="en-US"/>
              <a:t>Main Title</a:t>
            </a:r>
            <a:br>
              <a:rPr lang="nb-NO" altLang="en-US"/>
            </a:br>
            <a:r>
              <a:rPr lang="nb-NO" altLang="en-US"/>
              <a:t>(Arial narrow, 30pt -Maximum 2 lines)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922998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B49DD4-4D82-438A-AA07-54A126672EBA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F968F4-467F-4D49-8A60-8F4221B994BF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67350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F2CC68-6531-446C-BF6C-AB6A5C8F805B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3A70A2-CB95-409D-8D5C-F53741F0BEC8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48439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788" y="1049338"/>
            <a:ext cx="4105275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9463" y="1049338"/>
            <a:ext cx="4106862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5B068C-BBE9-467B-A945-0D7F5BB249B5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5B47DD-6B10-4A2C-869B-C5C6040B3FD4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0592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5879E-CADC-4222-9BFA-AC0869D108BE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8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268A3-69A8-417D-AF9A-3547EC1CC00F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1145267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D76FBA-4387-4E77-ACE2-AA93AC7DC2F7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6E11B9-5FEE-4607-9D01-801CF08E677E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38170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72252E-CA13-4CF1-9DB3-927FC73B06A3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3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63BEA4-373D-478E-843B-DC0ACE60D969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01195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BD88F9-A0A1-4A69-9C06-1244EF3FE511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D6CFAA-0899-4A6E-BF5D-859B1D4061F2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2390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2A6F03-099D-4373-B7E8-E06A5ED9C98A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134C78-F5B1-42FA-BD2E-D1681C0B58A8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54752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F6216-B2C7-4186-9D8F-88B654D7B655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6198B9-A445-49E2-B65F-CF830358D771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62905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5C3EAD-6BC9-49A1-9C27-5F23BB656A41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17CD3E-6FB9-4D44-8C05-0508D0CDCA20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021708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150813"/>
            <a:ext cx="2286000" cy="54244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50813"/>
            <a:ext cx="6705600" cy="54244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AADE9-A42D-4FC2-8A90-955C54AFB962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94EFB-8D52-4D7B-B851-474D4DB7919B}" type="datetimeFigureOut">
              <a:rPr lang="nb-NO">
                <a:solidFill>
                  <a:srgbClr val="080808"/>
                </a:solidFill>
              </a:rPr>
              <a:pPr>
                <a:defRPr/>
              </a:pPr>
              <a:t>03.04.2019</a:t>
            </a:fld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69500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338" y="608013"/>
            <a:ext cx="8805862" cy="7556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80975" y="1752600"/>
            <a:ext cx="4316413" cy="433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649788" y="1752600"/>
            <a:ext cx="4316412" cy="4337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6810375" y="6550025"/>
            <a:ext cx="2151063" cy="1619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>
                <a:solidFill>
                  <a:srgbClr val="080808"/>
                </a:solidFill>
              </a:rPr>
              <a:t>Slide </a:t>
            </a:r>
            <a:fld id="{B88776E2-DCC1-47CF-9F3E-DF0FB0FD7F13}" type="slidenum">
              <a:rPr lang="en-GB">
                <a:solidFill>
                  <a:srgbClr val="080808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080808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80975" y="6367463"/>
            <a:ext cx="5386388" cy="161925"/>
          </a:xfrm>
          <a:prstGeom prst="rect">
            <a:avLst/>
          </a:prstGeom>
        </p:spPr>
        <p:txBody>
          <a:bodyPr/>
          <a:lstStyle>
            <a:lvl1pPr>
              <a:buSzPct val="90000"/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400">
              <a:solidFill>
                <a:srgbClr val="969696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>
          <a:xfrm>
            <a:off x="6896100" y="6340475"/>
            <a:ext cx="2065338" cy="1920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8080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0269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1567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2872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5945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3624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2067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4C85C9-C6E9-4DBD-AA33-B4144DAFFF91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49789-9616-4BE6-B118-0C03DC473473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2243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69275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47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3462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1581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590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4174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2" y="2732244"/>
            <a:ext cx="7110889" cy="773203"/>
          </a:xfrm>
        </p:spPr>
        <p:txBody>
          <a:bodyPr anchor="ctr" anchorCtr="0">
            <a:normAutofit/>
          </a:bodyPr>
          <a:lstStyle>
            <a:lvl1pPr algn="ctr">
              <a:defRPr sz="3500">
                <a:solidFill>
                  <a:schemeClr val="accent3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2" y="5516451"/>
            <a:ext cx="7110889" cy="79933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700">
                <a:solidFill>
                  <a:schemeClr val="accent3"/>
                </a:solidFill>
              </a:defRPr>
            </a:lvl1pPr>
            <a:lvl2pPr marL="383744" indent="0" algn="ctr">
              <a:buNone/>
              <a:defRPr sz="1700"/>
            </a:lvl2pPr>
            <a:lvl3pPr marL="767481" indent="0" algn="ctr">
              <a:buNone/>
              <a:defRPr sz="1500"/>
            </a:lvl3pPr>
            <a:lvl4pPr marL="1151221" indent="0" algn="ctr">
              <a:buNone/>
              <a:defRPr sz="1300"/>
            </a:lvl4pPr>
            <a:lvl5pPr marL="1534960" indent="0" algn="ctr">
              <a:buNone/>
              <a:defRPr sz="1300"/>
            </a:lvl5pPr>
            <a:lvl6pPr marL="1918704" indent="0" algn="ctr">
              <a:buNone/>
              <a:defRPr sz="1300"/>
            </a:lvl6pPr>
            <a:lvl7pPr marL="2302448" indent="0" algn="ctr">
              <a:buNone/>
              <a:defRPr sz="1300"/>
            </a:lvl7pPr>
            <a:lvl8pPr marL="2686188" indent="0" algn="ctr">
              <a:buNone/>
              <a:defRPr sz="1300"/>
            </a:lvl8pPr>
            <a:lvl9pPr marL="3069921" indent="0" algn="ctr">
              <a:buNone/>
              <a:defRPr sz="13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57" y="540068"/>
            <a:ext cx="956312" cy="873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1755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2" y="2732244"/>
            <a:ext cx="7110889" cy="773203"/>
          </a:xfrm>
        </p:spPr>
        <p:txBody>
          <a:bodyPr anchor="ctr" anchorCtr="0">
            <a:normAutofit/>
          </a:bodyPr>
          <a:lstStyle>
            <a:lvl1pPr algn="ctr">
              <a:defRPr sz="3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2" y="5516451"/>
            <a:ext cx="7110889" cy="79933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700">
                <a:solidFill>
                  <a:schemeClr val="bg2"/>
                </a:solidFill>
              </a:defRPr>
            </a:lvl1pPr>
            <a:lvl2pPr marL="383744" indent="0" algn="ctr">
              <a:buNone/>
              <a:defRPr sz="1700"/>
            </a:lvl2pPr>
            <a:lvl3pPr marL="767481" indent="0" algn="ctr">
              <a:buNone/>
              <a:defRPr sz="1500"/>
            </a:lvl3pPr>
            <a:lvl4pPr marL="1151221" indent="0" algn="ctr">
              <a:buNone/>
              <a:defRPr sz="1300"/>
            </a:lvl4pPr>
            <a:lvl5pPr marL="1534960" indent="0" algn="ctr">
              <a:buNone/>
              <a:defRPr sz="1300"/>
            </a:lvl5pPr>
            <a:lvl6pPr marL="1918704" indent="0" algn="ctr">
              <a:buNone/>
              <a:defRPr sz="1300"/>
            </a:lvl6pPr>
            <a:lvl7pPr marL="2302448" indent="0" algn="ctr">
              <a:buNone/>
              <a:defRPr sz="1300"/>
            </a:lvl7pPr>
            <a:lvl8pPr marL="2686188" indent="0" algn="ctr">
              <a:buNone/>
              <a:defRPr sz="1300"/>
            </a:lvl8pPr>
            <a:lvl9pPr marL="3069921" indent="0" algn="ctr">
              <a:buNone/>
              <a:defRPr sz="13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57" y="540399"/>
            <a:ext cx="956312" cy="87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34155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2" y="2732244"/>
            <a:ext cx="7110889" cy="773203"/>
          </a:xfrm>
        </p:spPr>
        <p:txBody>
          <a:bodyPr anchor="ctr" anchorCtr="0">
            <a:normAutofit/>
          </a:bodyPr>
          <a:lstStyle>
            <a:lvl1pPr algn="ctr">
              <a:defRPr sz="3500">
                <a:solidFill>
                  <a:schemeClr val="accent4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2" y="5516451"/>
            <a:ext cx="7110889" cy="79933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700">
                <a:solidFill>
                  <a:schemeClr val="bg1"/>
                </a:solidFill>
              </a:defRPr>
            </a:lvl1pPr>
            <a:lvl2pPr marL="383744" indent="0" algn="ctr">
              <a:buNone/>
              <a:defRPr sz="1700"/>
            </a:lvl2pPr>
            <a:lvl3pPr marL="767481" indent="0" algn="ctr">
              <a:buNone/>
              <a:defRPr sz="1500"/>
            </a:lvl3pPr>
            <a:lvl4pPr marL="1151221" indent="0" algn="ctr">
              <a:buNone/>
              <a:defRPr sz="1300"/>
            </a:lvl4pPr>
            <a:lvl5pPr marL="1534960" indent="0" algn="ctr">
              <a:buNone/>
              <a:defRPr sz="1300"/>
            </a:lvl5pPr>
            <a:lvl6pPr marL="1918704" indent="0" algn="ctr">
              <a:buNone/>
              <a:defRPr sz="1300"/>
            </a:lvl6pPr>
            <a:lvl7pPr marL="2302448" indent="0" algn="ctr">
              <a:buNone/>
              <a:defRPr sz="1300"/>
            </a:lvl7pPr>
            <a:lvl8pPr marL="2686188" indent="0" algn="ctr">
              <a:buNone/>
              <a:defRPr sz="1300"/>
            </a:lvl8pPr>
            <a:lvl9pPr marL="3069921" indent="0" algn="ctr">
              <a:buNone/>
              <a:defRPr sz="13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57" y="540399"/>
            <a:ext cx="956312" cy="873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9177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2" y="2732244"/>
            <a:ext cx="7110889" cy="773203"/>
          </a:xfrm>
        </p:spPr>
        <p:txBody>
          <a:bodyPr anchor="ctr" anchorCtr="0">
            <a:normAutofit/>
          </a:bodyPr>
          <a:lstStyle>
            <a:lvl1pPr algn="ctr">
              <a:defRPr sz="3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2" y="5516451"/>
            <a:ext cx="7110889" cy="799338"/>
          </a:xfrm>
        </p:spPr>
        <p:txBody>
          <a:bodyPr anchor="b" anchorCtr="0">
            <a:normAutofit/>
          </a:bodyPr>
          <a:lstStyle>
            <a:lvl1pPr marL="0" indent="0" algn="ctr">
              <a:buNone/>
              <a:defRPr sz="1700">
                <a:solidFill>
                  <a:schemeClr val="accent1"/>
                </a:solidFill>
              </a:defRPr>
            </a:lvl1pPr>
            <a:lvl2pPr marL="383744" indent="0" algn="ctr">
              <a:buNone/>
              <a:defRPr sz="1700"/>
            </a:lvl2pPr>
            <a:lvl3pPr marL="767481" indent="0" algn="ctr">
              <a:buNone/>
              <a:defRPr sz="1500"/>
            </a:lvl3pPr>
            <a:lvl4pPr marL="1151221" indent="0" algn="ctr">
              <a:buNone/>
              <a:defRPr sz="1300"/>
            </a:lvl4pPr>
            <a:lvl5pPr marL="1534960" indent="0" algn="ctr">
              <a:buNone/>
              <a:defRPr sz="1300"/>
            </a:lvl5pPr>
            <a:lvl6pPr marL="1918704" indent="0" algn="ctr">
              <a:buNone/>
              <a:defRPr sz="1300"/>
            </a:lvl6pPr>
            <a:lvl7pPr marL="2302448" indent="0" algn="ctr">
              <a:buNone/>
              <a:defRPr sz="1300"/>
            </a:lvl7pPr>
            <a:lvl8pPr marL="2686188" indent="0" algn="ctr">
              <a:buNone/>
              <a:defRPr sz="1300"/>
            </a:lvl8pPr>
            <a:lvl9pPr marL="3069921" indent="0" algn="ctr">
              <a:buNone/>
              <a:defRPr sz="13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069" y="540068"/>
            <a:ext cx="952323" cy="873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1995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F47EB8-6FB2-4BAE-8609-52CB228E3CC9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D65E7C-D6D8-4483-AD78-1FF5D9E0F5D5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3488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2576" y="510065"/>
            <a:ext cx="4185523" cy="1260158"/>
          </a:xfrm>
        </p:spPr>
        <p:txBody>
          <a:bodyPr anchor="t" anchorCtr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72576" y="1980248"/>
            <a:ext cx="4185523" cy="3000375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38374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674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512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53496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9187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30244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8618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0699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5048488" y="525069"/>
            <a:ext cx="4095512" cy="5430678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52" y="5766722"/>
            <a:ext cx="2061214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05223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2">
    <p:bg>
      <p:bgPr>
        <a:solidFill>
          <a:schemeClr val="l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2576" y="510065"/>
            <a:ext cx="4185523" cy="1260158"/>
          </a:xfrm>
        </p:spPr>
        <p:txBody>
          <a:bodyPr anchor="t" anchorCtr="0">
            <a:normAutofit/>
          </a:bodyPr>
          <a:lstStyle>
            <a:lvl1pPr>
              <a:defRPr sz="25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72576" y="1980248"/>
            <a:ext cx="4185523" cy="3000375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 b="1">
                <a:solidFill>
                  <a:schemeClr val="accent1"/>
                </a:solidFill>
              </a:defRPr>
            </a:lvl1pPr>
            <a:lvl2pPr marL="38374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674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512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53496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9187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30244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8618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0699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5048488" y="525069"/>
            <a:ext cx="4095512" cy="5430678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051" y="5766722"/>
            <a:ext cx="2061214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3426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#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2576" y="510065"/>
            <a:ext cx="4185523" cy="1260158"/>
          </a:xfrm>
        </p:spPr>
        <p:txBody>
          <a:bodyPr anchor="t" anchorCtr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72576" y="1980248"/>
            <a:ext cx="4185523" cy="3000375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38374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674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512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53496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9187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30244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8618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0699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5048488" y="525069"/>
            <a:ext cx="4095512" cy="5430678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accent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52" y="5766722"/>
            <a:ext cx="2061214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6902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apittelside halvsir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2576" y="510064"/>
            <a:ext cx="4185523" cy="1260782"/>
          </a:xfrm>
        </p:spPr>
        <p:txBody>
          <a:bodyPr anchor="t" anchorCtr="0">
            <a:normAutofit/>
          </a:bodyPr>
          <a:lstStyle>
            <a:lvl1pPr>
              <a:defRPr sz="2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72576" y="1980248"/>
            <a:ext cx="4185523" cy="3000375"/>
          </a:xfrm>
        </p:spPr>
        <p:txBody>
          <a:bodyPr>
            <a:normAutofit/>
          </a:bodyPr>
          <a:lstStyle>
            <a:lvl1pPr marL="0" indent="0">
              <a:buNone/>
              <a:defRPr sz="1500" b="1">
                <a:solidFill>
                  <a:schemeClr val="bg1"/>
                </a:solidFill>
              </a:defRPr>
            </a:lvl1pPr>
            <a:lvl2pPr marL="383744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6748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512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53496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918704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30244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86188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3069921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bilde 8"/>
          <p:cNvSpPr>
            <a:spLocks noGrp="1"/>
          </p:cNvSpPr>
          <p:nvPr>
            <p:ph type="pic" sz="quarter" idx="13"/>
          </p:nvPr>
        </p:nvSpPr>
        <p:spPr>
          <a:xfrm>
            <a:off x="7073742" y="525068"/>
            <a:ext cx="2070259" cy="5400675"/>
          </a:xfrm>
          <a:custGeom>
            <a:avLst/>
            <a:gdLst>
              <a:gd name="connsiteX0" fmla="*/ 3240000 w 3312414"/>
              <a:gd name="connsiteY0" fmla="*/ 0 h 6480810"/>
              <a:gd name="connsiteX1" fmla="*/ 3312414 w 3312414"/>
              <a:gd name="connsiteY1" fmla="*/ 1831 h 6480810"/>
              <a:gd name="connsiteX2" fmla="*/ 3312414 w 3312414"/>
              <a:gd name="connsiteY2" fmla="*/ 6478979 h 6480810"/>
              <a:gd name="connsiteX3" fmla="*/ 3240000 w 3312414"/>
              <a:gd name="connsiteY3" fmla="*/ 6480810 h 6480810"/>
              <a:gd name="connsiteX4" fmla="*/ 0 w 3312414"/>
              <a:gd name="connsiteY4" fmla="*/ 3240405 h 6480810"/>
              <a:gd name="connsiteX5" fmla="*/ 3240000 w 3312414"/>
              <a:gd name="connsiteY5" fmla="*/ 0 h 6480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12414" h="6480810">
                <a:moveTo>
                  <a:pt x="3240000" y="0"/>
                </a:moveTo>
                <a:lnTo>
                  <a:pt x="3312414" y="1831"/>
                </a:lnTo>
                <a:lnTo>
                  <a:pt x="3312414" y="6478979"/>
                </a:lnTo>
                <a:lnTo>
                  <a:pt x="3240000" y="6480810"/>
                </a:lnTo>
                <a:cubicBezTo>
                  <a:pt x="1450597" y="6480810"/>
                  <a:pt x="0" y="5030031"/>
                  <a:pt x="0" y="3240405"/>
                </a:cubicBezTo>
                <a:cubicBezTo>
                  <a:pt x="0" y="1450779"/>
                  <a:pt x="1450597" y="0"/>
                  <a:pt x="3240000" y="0"/>
                </a:cubicBez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 tIns="1258992" anchor="t" anchorCtr="1">
            <a:noAutofit/>
          </a:bodyPr>
          <a:lstStyle>
            <a:lvl1pPr marL="0" indent="0">
              <a:buFont typeface="Arial" panose="020B0604020202020204" pitchFamily="34" charset="0"/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552" y="5766722"/>
            <a:ext cx="2061214" cy="223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9330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450057" y="540068"/>
            <a:ext cx="956312" cy="873762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993216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450057" y="540068"/>
            <a:ext cx="956312" cy="873762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382172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450057" y="540068"/>
            <a:ext cx="956312" cy="873762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4052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viles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6858000"/>
          </a:xfrm>
          <a:blipFill>
            <a:blip r:embed="rId2"/>
            <a:stretch>
              <a:fillRect/>
            </a:stretch>
          </a:blipFill>
        </p:spPr>
        <p:txBody>
          <a:bodyPr tIns="1258992" anchor="t" anchorCtr="1">
            <a:normAutofit/>
          </a:bodyPr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2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450057" y="540068"/>
            <a:ext cx="956312" cy="873762"/>
          </a:xfrm>
          <a:blipFill>
            <a:blip r:embed="rId3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515928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SzPct val="60000"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F1845-2A85-4438-AC6C-9384C559E66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7926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94643" y="1629205"/>
            <a:ext cx="6615827" cy="4140518"/>
          </a:xfrm>
          <a:solidFill>
            <a:srgbClr val="0069E8"/>
          </a:solidFill>
        </p:spPr>
        <p:txBody>
          <a:bodyPr lIns="302160" tIns="302160" rIns="302160" bIns="30216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7908-EC85-4632-9C4B-83E40FF1249F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895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6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33" y="1535116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ED99C9-6D30-426F-B3C0-3CFD660333EF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B9448-9CF9-4518-9C5B-CBEB38852147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5086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stor /m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94624" y="2169272"/>
            <a:ext cx="7020878" cy="3780472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3435A-BE20-4F09-82D2-3003BB17C80A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3"/>
          </p:nvPr>
        </p:nvSpPr>
        <p:spPr>
          <a:xfrm>
            <a:off x="994624" y="1629204"/>
            <a:ext cx="7020878" cy="540068"/>
          </a:xfrm>
        </p:spPr>
        <p:txBody>
          <a:bodyPr/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451702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2A0672-1BB0-44D0-A7F1-A0555A9945F3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994625" y="1629206"/>
            <a:ext cx="8149376" cy="432054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881296" rIns="0" bIns="0" anchor="t" anchorCtr="1"/>
          <a:lstStyle>
            <a:lvl1pPr marL="0" indent="0">
              <a:buFont typeface="Arial" panose="020B0604020202020204" pitchFamily="34" charset="0"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469258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4625" y="1629206"/>
            <a:ext cx="3375422" cy="43205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70547" y="1629206"/>
            <a:ext cx="3375422" cy="43205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CEDC0-8B0B-4FEB-80AB-549D533678FA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0" name="Tit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946235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4625" y="1629206"/>
            <a:ext cx="3375422" cy="43205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228160-CBC6-44F3-A419-4691577D08E2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4770546" y="1629206"/>
            <a:ext cx="4373454" cy="432054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007194" rIns="0" bIns="0" anchor="t" anchorCtr="1"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09991639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4625" y="1629206"/>
            <a:ext cx="3375422" cy="4320540"/>
          </a:xfrm>
          <a:solidFill>
            <a:srgbClr val="EFEFEF"/>
          </a:solidFill>
        </p:spPr>
        <p:txBody>
          <a:bodyPr lIns="151087" tIns="151087" rIns="151087" bIns="151087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3E429C-8168-4B91-890F-C5E9E88B04CF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4770546" y="1629206"/>
            <a:ext cx="4373454" cy="432054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007194" rIns="0" bIns="0" anchor="t" anchorCtr="1"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304776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, innhold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4625" y="1629206"/>
            <a:ext cx="3375422" cy="432054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68BDD-28BA-45B6-B0A4-1E0CB3996F2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2" name="Plassholder for bilde 1"/>
          <p:cNvSpPr>
            <a:spLocks noGrp="1"/>
          </p:cNvSpPr>
          <p:nvPr>
            <p:ph type="pic" sz="quarter" idx="13"/>
          </p:nvPr>
        </p:nvSpPr>
        <p:spPr>
          <a:xfrm>
            <a:off x="4770546" y="1629206"/>
            <a:ext cx="4373454" cy="432054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lIns="0" tIns="1007194" rIns="0" bIns="0" anchor="t" anchorCtr="1"/>
          <a:lstStyle>
            <a:lvl1pPr marL="0" indent="0">
              <a:buFont typeface="Arial" panose="020B0604020202020204" pitchFamily="34" charset="0"/>
              <a:buNone/>
              <a:defRPr sz="1300">
                <a:solidFill>
                  <a:schemeClr val="bg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5016254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0124" y="1620204"/>
            <a:ext cx="3240405" cy="1980248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444306" y="1620204"/>
            <a:ext cx="3240405" cy="1980248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D7D56F-37E5-47E1-A1C8-CC0C8A64CE51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4444306" y="3960494"/>
            <a:ext cx="3240405" cy="1980248"/>
          </a:xfrm>
          <a:noFill/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990124" y="3960494"/>
            <a:ext cx="3240405" cy="1980248"/>
          </a:xfrm>
          <a:noFill/>
        </p:spPr>
        <p:txBody>
          <a:bodyPr lIns="0" tIns="0" rIns="0" bIns="0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276331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&amp; 4x innhold f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4624" y="1629204"/>
            <a:ext cx="3240405" cy="1980248"/>
          </a:xfrm>
          <a:solidFill>
            <a:srgbClr val="EFEFEF"/>
          </a:solidFill>
        </p:spPr>
        <p:txBody>
          <a:bodyPr lIns="151087" tIns="251803" rIns="151087" bIns="251803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444306" y="1629204"/>
            <a:ext cx="3240405" cy="1980248"/>
          </a:xfrm>
          <a:solidFill>
            <a:srgbClr val="EFEFEF"/>
          </a:solidFill>
        </p:spPr>
        <p:txBody>
          <a:bodyPr lIns="151087" tIns="251803" rIns="151087" bIns="251803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BC1B-76D5-428F-B4F8-9DFEF45A20DE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/>
          </p:nvPr>
        </p:nvSpPr>
        <p:spPr>
          <a:xfrm>
            <a:off x="4444306" y="3960494"/>
            <a:ext cx="3240405" cy="1980248"/>
          </a:xfrm>
          <a:solidFill>
            <a:srgbClr val="EFEFEF"/>
          </a:solidFill>
        </p:spPr>
        <p:txBody>
          <a:bodyPr lIns="151087" tIns="251803" rIns="151087" bIns="251803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sz="half" idx="14"/>
          </p:nvPr>
        </p:nvSpPr>
        <p:spPr>
          <a:xfrm>
            <a:off x="994624" y="3960494"/>
            <a:ext cx="3240405" cy="1980248"/>
          </a:xfrm>
          <a:solidFill>
            <a:srgbClr val="EFEFEF"/>
          </a:solidFill>
        </p:spPr>
        <p:txBody>
          <a:bodyPr lIns="151087" tIns="251803" rIns="151087" bIns="251803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474913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94625" y="1629204"/>
            <a:ext cx="3375422" cy="5400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500" b="1"/>
            </a:lvl1pPr>
            <a:lvl2pPr marL="383744" indent="0">
              <a:buNone/>
              <a:defRPr sz="1700" b="1"/>
            </a:lvl2pPr>
            <a:lvl3pPr marL="767481" indent="0">
              <a:buNone/>
              <a:defRPr sz="1500" b="1"/>
            </a:lvl3pPr>
            <a:lvl4pPr marL="1151221" indent="0">
              <a:buNone/>
              <a:defRPr sz="1300" b="1"/>
            </a:lvl4pPr>
            <a:lvl5pPr marL="1534960" indent="0">
              <a:buNone/>
              <a:defRPr sz="1300" b="1"/>
            </a:lvl5pPr>
            <a:lvl6pPr marL="1918704" indent="0">
              <a:buNone/>
              <a:defRPr sz="1300" b="1"/>
            </a:lvl6pPr>
            <a:lvl7pPr marL="2302448" indent="0">
              <a:buNone/>
              <a:defRPr sz="1300" b="1"/>
            </a:lvl7pPr>
            <a:lvl8pPr marL="2686188" indent="0">
              <a:buNone/>
              <a:defRPr sz="1300" b="1"/>
            </a:lvl8pPr>
            <a:lvl9pPr marL="3069921" indent="0">
              <a:buNone/>
              <a:defRPr sz="13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994625" y="2169272"/>
            <a:ext cx="3375422" cy="37804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70597" y="1629204"/>
            <a:ext cx="3375422" cy="540068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500" b="1"/>
            </a:lvl1pPr>
            <a:lvl2pPr marL="383744" indent="0">
              <a:buNone/>
              <a:defRPr sz="1700" b="1"/>
            </a:lvl2pPr>
            <a:lvl3pPr marL="767481" indent="0">
              <a:buNone/>
              <a:defRPr sz="1500" b="1"/>
            </a:lvl3pPr>
            <a:lvl4pPr marL="1151221" indent="0">
              <a:buNone/>
              <a:defRPr sz="1300" b="1"/>
            </a:lvl4pPr>
            <a:lvl5pPr marL="1534960" indent="0">
              <a:buNone/>
              <a:defRPr sz="1300" b="1"/>
            </a:lvl5pPr>
            <a:lvl6pPr marL="1918704" indent="0">
              <a:buNone/>
              <a:defRPr sz="1300" b="1"/>
            </a:lvl6pPr>
            <a:lvl7pPr marL="2302448" indent="0">
              <a:buNone/>
              <a:defRPr sz="1300" b="1"/>
            </a:lvl7pPr>
            <a:lvl8pPr marL="2686188" indent="0">
              <a:buNone/>
              <a:defRPr sz="1300" b="1"/>
            </a:lvl8pPr>
            <a:lvl9pPr marL="3069921" indent="0">
              <a:buNone/>
              <a:defRPr sz="13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70597" y="2169272"/>
            <a:ext cx="3375422" cy="378047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FD226F-10C9-4506-BB87-948311CE756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504264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1B4374-CE3F-4BEF-A161-272C71B0C02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678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423CE7-E423-4BF8-8873-4EAC18A8BD4F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0297D-EE43-4820-9656-7FAEDBE9345E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0566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F8836E-C4EC-4E3C-9EA0-07C47D63B35B}" type="datetime1">
              <a:rPr lang="nb-NO" smtClean="0">
                <a:solidFill>
                  <a:srgbClr val="2C4457"/>
                </a:solidFill>
              </a:rPr>
              <a:pPr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‹#›</a:t>
            </a:fld>
            <a:endParaRPr lang="nb-NO">
              <a:solidFill>
                <a:srgbClr val="2C44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89428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39"/>
          <a:stretch/>
        </p:blipFill>
        <p:spPr>
          <a:xfrm>
            <a:off x="0" y="4680859"/>
            <a:ext cx="9144000" cy="2177143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4936217"/>
            <a:ext cx="7772400" cy="27699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5519509"/>
            <a:ext cx="7772400" cy="2354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6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23" y="4278083"/>
            <a:ext cx="2243143" cy="304775"/>
          </a:xfrm>
          <a:prstGeom prst="rect">
            <a:avLst/>
          </a:prstGeom>
        </p:spPr>
      </p:pic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2639"/>
            <a:ext cx="9144000" cy="4175753"/>
          </a:xfrm>
        </p:spPr>
        <p:txBody>
          <a:bodyPr/>
          <a:lstStyle>
            <a:lvl1pPr marL="0" indent="0">
              <a:buNone/>
              <a:defRPr sz="3200"/>
            </a:lvl1pPr>
            <a:lvl2pPr marL="456811" indent="0">
              <a:buNone/>
              <a:defRPr sz="2800"/>
            </a:lvl2pPr>
            <a:lvl3pPr marL="913626" indent="0">
              <a:buNone/>
              <a:defRPr sz="2400"/>
            </a:lvl3pPr>
            <a:lvl4pPr marL="1370440" indent="0">
              <a:buNone/>
              <a:defRPr sz="2000"/>
            </a:lvl4pPr>
            <a:lvl5pPr marL="1827253" indent="0">
              <a:buNone/>
              <a:defRPr sz="2000"/>
            </a:lvl5pPr>
            <a:lvl6pPr marL="2284060" indent="0">
              <a:buNone/>
              <a:defRPr sz="2000"/>
            </a:lvl6pPr>
            <a:lvl7pPr marL="2740871" indent="0">
              <a:buNone/>
              <a:defRPr sz="2000"/>
            </a:lvl7pPr>
            <a:lvl8pPr marL="3197680" indent="0">
              <a:buNone/>
              <a:defRPr sz="2000"/>
            </a:lvl8pPr>
            <a:lvl9pPr marL="3654501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7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2" y="6476195"/>
            <a:ext cx="7772479" cy="193899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61598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39"/>
          <a:stretch/>
        </p:blipFill>
        <p:spPr>
          <a:xfrm>
            <a:off x="0" y="4680859"/>
            <a:ext cx="9144000" cy="2177143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4936217"/>
            <a:ext cx="7772400" cy="27699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5519509"/>
            <a:ext cx="7772400" cy="2354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6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23" y="4278083"/>
            <a:ext cx="2243143" cy="304775"/>
          </a:xfrm>
          <a:prstGeom prst="rect">
            <a:avLst/>
          </a:prstGeom>
        </p:spPr>
      </p:pic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2639"/>
            <a:ext cx="9144000" cy="4175753"/>
          </a:xfrm>
        </p:spPr>
        <p:txBody>
          <a:bodyPr/>
          <a:lstStyle>
            <a:lvl1pPr marL="0" indent="0">
              <a:buNone/>
              <a:defRPr sz="3200"/>
            </a:lvl1pPr>
            <a:lvl2pPr marL="456811" indent="0">
              <a:buNone/>
              <a:defRPr sz="2800"/>
            </a:lvl2pPr>
            <a:lvl3pPr marL="913626" indent="0">
              <a:buNone/>
              <a:defRPr sz="2400"/>
            </a:lvl3pPr>
            <a:lvl4pPr marL="1370440" indent="0">
              <a:buNone/>
              <a:defRPr sz="2000"/>
            </a:lvl4pPr>
            <a:lvl5pPr marL="1827253" indent="0">
              <a:buNone/>
              <a:defRPr sz="2000"/>
            </a:lvl5pPr>
            <a:lvl6pPr marL="2284060" indent="0">
              <a:buNone/>
              <a:defRPr sz="2000"/>
            </a:lvl6pPr>
            <a:lvl7pPr marL="2740871" indent="0">
              <a:buNone/>
              <a:defRPr sz="2000"/>
            </a:lvl7pPr>
            <a:lvl8pPr marL="3197680" indent="0">
              <a:buNone/>
              <a:defRPr sz="2000"/>
            </a:lvl8pPr>
            <a:lvl9pPr marL="3654501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7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2" y="6476195"/>
            <a:ext cx="7772479" cy="193899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127591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elfors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0"/>
            <a:ext cx="9143244" cy="6278362"/>
          </a:xfrm>
          <a:prstGeom prst="rect">
            <a:avLst/>
          </a:prstGeom>
          <a:solidFill>
            <a:srgbClr val="0093A7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2063058"/>
            <a:ext cx="7772400" cy="276999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2654457"/>
            <a:ext cx="7772400" cy="2354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6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7" y="6525362"/>
            <a:ext cx="1440000" cy="195659"/>
          </a:xfrm>
          <a:prstGeom prst="rect">
            <a:avLst/>
          </a:prstGeom>
        </p:spPr>
      </p:pic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6657340"/>
            <a:ext cx="1080120" cy="144016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B0479B03-8573-4800-BD3B-9D0108090824}" type="datetime1">
              <a:rPr lang="nb-NO" smtClean="0"/>
              <a:pPr/>
              <a:t>03.04.2019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6369309"/>
            <a:ext cx="2160240" cy="216023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/>
              <a:t>Nasjonal handlingsplan for e-helse (2014-2016)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6657336"/>
            <a:ext cx="648072" cy="144016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868365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CEEBF-F5C7-442F-AEF0-5DFC5E7C0BA5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4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D6AA3C-7840-4023-B6FE-0022D420593E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6096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19" y="27305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95A30-32CC-4A90-975B-D834B105D5D8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F26B15-4440-4FE8-B2CB-F990037C155C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584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FA4322-3A01-47A8-B853-8D0CF9C95448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751DD2-9B8C-464E-B269-C27522776222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3177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Bilde 6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289675"/>
            <a:ext cx="9144000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5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ittelstil</a:t>
            </a:r>
          </a:p>
        </p:txBody>
      </p:sp>
      <p:sp>
        <p:nvSpPr>
          <p:cNvPr id="13316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84906" y="6592888"/>
            <a:ext cx="981075" cy="220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2AD9878-7D46-4D29-AE31-46B1FEBF5741}" type="datetime1">
              <a:rPr lang="nb-NO" smtClean="0">
                <a:solidFill>
                  <a:prstClr val="black">
                    <a:tint val="75000"/>
                  </a:prstClr>
                </a:solidFill>
              </a:rPr>
              <a:t>03.04.2019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069013" y="6356350"/>
            <a:ext cx="2895600" cy="2174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nb-NO">
                <a:solidFill>
                  <a:srgbClr val="0093A8"/>
                </a:solidFill>
              </a:rPr>
              <a:t>Nasjonal handlingsplan for e-helse (2014-2016)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281875" y="6596593"/>
            <a:ext cx="585787" cy="2174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CC3353A-BBE0-467D-9828-C939BE58EF64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198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1788" y="1049338"/>
            <a:ext cx="8364537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80000" tIns="0" rIns="180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Nivå 1 (Arial Narrow 18 PT):</a:t>
            </a:r>
          </a:p>
          <a:p>
            <a:pPr lvl="1"/>
            <a:r>
              <a:rPr lang="nb-NO"/>
              <a:t>Nivå 2 (Arial Narrow16 PT)</a:t>
            </a:r>
          </a:p>
        </p:txBody>
      </p:sp>
      <p:sp>
        <p:nvSpPr>
          <p:cNvPr id="2201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899525" y="6686550"/>
            <a:ext cx="196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6000" tIns="0" rIns="3600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85000"/>
              </a:lnSpc>
              <a:buSzTx/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E47C751-7545-437D-92AF-273FD91DF104}" type="slidenum">
              <a:rPr lang="en-GB">
                <a:solidFill>
                  <a:srgbClr val="080808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0" y="150813"/>
            <a:ext cx="9144000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04000" tIns="3600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/>
              <a:t>Overskrift (aldri mer enn to linjer)</a:t>
            </a:r>
          </a:p>
        </p:txBody>
      </p:sp>
      <p:sp>
        <p:nvSpPr>
          <p:cNvPr id="220165" name="Line 5"/>
          <p:cNvSpPr>
            <a:spLocks noChangeShapeType="1"/>
          </p:cNvSpPr>
          <p:nvPr/>
        </p:nvSpPr>
        <p:spPr bwMode="auto">
          <a:xfrm>
            <a:off x="0" y="6311900"/>
            <a:ext cx="9144000" cy="0"/>
          </a:xfrm>
          <a:prstGeom prst="line">
            <a:avLst/>
          </a:prstGeom>
          <a:noFill/>
          <a:ln w="1270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endParaRPr lang="nb-NO" sz="2400">
              <a:solidFill>
                <a:srgbClr val="969696"/>
              </a:solidFill>
              <a:latin typeface="Arial" charset="0"/>
              <a:cs typeface="Arial" charset="0"/>
            </a:endParaRPr>
          </a:p>
        </p:txBody>
      </p:sp>
      <p:sp>
        <p:nvSpPr>
          <p:cNvPr id="220166" name="Line 6"/>
          <p:cNvSpPr>
            <a:spLocks noChangeShapeType="1"/>
          </p:cNvSpPr>
          <p:nvPr/>
        </p:nvSpPr>
        <p:spPr bwMode="auto">
          <a:xfrm>
            <a:off x="0" y="776288"/>
            <a:ext cx="9142413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endParaRPr lang="nb-NO" sz="2400">
              <a:solidFill>
                <a:srgbClr val="969696"/>
              </a:solidFill>
              <a:latin typeface="Arial" charset="0"/>
              <a:cs typeface="Arial" charset="0"/>
            </a:endParaRPr>
          </a:p>
        </p:txBody>
      </p:sp>
      <p:sp>
        <p:nvSpPr>
          <p:cNvPr id="220167" name="Line 7"/>
          <p:cNvSpPr>
            <a:spLocks noChangeShapeType="1"/>
          </p:cNvSpPr>
          <p:nvPr/>
        </p:nvSpPr>
        <p:spPr bwMode="auto">
          <a:xfrm>
            <a:off x="515938" y="776288"/>
            <a:ext cx="1036637" cy="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buSzPct val="90000"/>
              <a:defRPr/>
            </a:pPr>
            <a:endParaRPr lang="nb-NO" sz="2400">
              <a:solidFill>
                <a:srgbClr val="969696"/>
              </a:solidFill>
              <a:latin typeface="Arial" charset="0"/>
              <a:cs typeface="Arial" charset="0"/>
            </a:endParaRPr>
          </a:p>
        </p:txBody>
      </p:sp>
      <p:sp>
        <p:nvSpPr>
          <p:cNvPr id="22016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800975" y="6353175"/>
            <a:ext cx="12954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200" tIns="0" rIns="3600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buSzTx/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747C953-96DB-4CEA-936D-F248883D49CD}" type="datetimeFigureOut">
              <a:rPr lang="nb-NO">
                <a:solidFill>
                  <a:srgbClr val="080808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3.04.2019</a:t>
            </a:fld>
            <a:endParaRPr lang="en-GB">
              <a:solidFill>
                <a:srgbClr val="080808"/>
              </a:solidFill>
              <a:cs typeface="Arial" charset="0"/>
            </a:endParaRPr>
          </a:p>
        </p:txBody>
      </p:sp>
      <p:pic>
        <p:nvPicPr>
          <p:cNvPr id="1033" name="Picture 10"/>
          <p:cNvPicPr>
            <a:picLocks noChangeAspect="1" noChangeArrowheads="1"/>
          </p:cNvPicPr>
          <p:nvPr/>
        </p:nvPicPr>
        <p:blipFill>
          <a:blip r:embed="rId14" cstate="print"/>
          <a:srcRect l="1567" t="28194" r="76567" b="22275"/>
          <a:stretch>
            <a:fillRect/>
          </a:stretch>
        </p:blipFill>
        <p:spPr bwMode="auto">
          <a:xfrm>
            <a:off x="4875213" y="6345238"/>
            <a:ext cx="1077912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34" name="Picture 11"/>
          <p:cNvPicPr>
            <a:picLocks noChangeAspect="1" noChangeArrowheads="1"/>
          </p:cNvPicPr>
          <p:nvPr/>
        </p:nvPicPr>
        <p:blipFill>
          <a:blip r:embed="rId15" cstate="print"/>
          <a:srcRect l="45935" r="37485" b="40575"/>
          <a:stretch>
            <a:fillRect/>
          </a:stretch>
        </p:blipFill>
        <p:spPr bwMode="auto">
          <a:xfrm>
            <a:off x="6372225" y="6323013"/>
            <a:ext cx="1058863" cy="277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35" name="Picture 12"/>
          <p:cNvPicPr>
            <a:picLocks noChangeAspect="1" noChangeArrowheads="1"/>
          </p:cNvPicPr>
          <p:nvPr/>
        </p:nvPicPr>
        <p:blipFill>
          <a:blip r:embed="rId15" cstate="print"/>
          <a:srcRect l="3194" r="80669" b="34589"/>
          <a:stretch>
            <a:fillRect/>
          </a:stretch>
        </p:blipFill>
        <p:spPr bwMode="auto">
          <a:xfrm>
            <a:off x="1833563" y="6332538"/>
            <a:ext cx="938212" cy="280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036" name="Picture 13"/>
          <p:cNvPicPr>
            <a:picLocks noChangeAspect="1" noChangeArrowheads="1"/>
          </p:cNvPicPr>
          <p:nvPr/>
        </p:nvPicPr>
        <p:blipFill>
          <a:blip r:embed="rId15" cstate="print"/>
          <a:srcRect l="20978" t="-10643" r="56841" b="37914"/>
          <a:stretch>
            <a:fillRect/>
          </a:stretch>
        </p:blipFill>
        <p:spPr bwMode="auto">
          <a:xfrm>
            <a:off x="3189288" y="6296025"/>
            <a:ext cx="1268412" cy="3063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17352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</p:sldLayoutIdLst>
  <p:transition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5pPr>
      <a:lvl6pPr marL="4572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6pPr>
      <a:lvl7pPr marL="9144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7pPr>
      <a:lvl8pPr marL="13716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8pPr>
      <a:lvl9pPr marL="1828800"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 Narrow" pitchFamily="34" charset="0"/>
        </a:defRPr>
      </a:lvl9pPr>
    </p:titleStyle>
    <p:bodyStyle>
      <a:lvl1pPr marL="171450" indent="-17145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334963" indent="-152400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chemeClr val="bg2"/>
        </a:buClr>
        <a:buSzPct val="90000"/>
        <a:buChar char="•"/>
        <a:defRPr>
          <a:solidFill>
            <a:schemeClr val="tx1"/>
          </a:solidFill>
          <a:latin typeface="+mn-lt"/>
        </a:defRPr>
      </a:lvl2pPr>
      <a:lvl3pPr marL="850900" indent="-17621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lr>
          <a:srgbClr val="969696"/>
        </a:buClr>
        <a:buFont typeface="Symbol" pitchFamily="18" charset="2"/>
        <a:buChar char="-"/>
        <a:defRPr sz="1400">
          <a:solidFill>
            <a:schemeClr val="tx1"/>
          </a:solidFill>
          <a:latin typeface="+mn-lt"/>
        </a:defRPr>
      </a:lvl3pPr>
      <a:lvl4pPr marL="1162050" indent="-131763" algn="l" rtl="0" eaLnBrk="0" fontAlgn="base" hangingPunct="0">
        <a:lnSpc>
          <a:spcPct val="95000"/>
        </a:lnSpc>
        <a:spcBef>
          <a:spcPct val="25000"/>
        </a:spcBef>
        <a:spcAft>
          <a:spcPct val="0"/>
        </a:spcAft>
        <a:buChar char="•"/>
        <a:defRPr sz="1200">
          <a:solidFill>
            <a:schemeClr val="tx1"/>
          </a:solidFill>
          <a:latin typeface="Arial" charset="0"/>
        </a:defRPr>
      </a:lvl4pPr>
      <a:lvl5pPr marL="19621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5pPr>
      <a:lvl6pPr marL="24193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6pPr>
      <a:lvl7pPr marL="28765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7pPr>
      <a:lvl8pPr marL="33337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8pPr>
      <a:lvl9pPr marL="3790950" indent="-228600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Arial" charset="0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83EDF6-FE98-45C9-9189-A1E3028B6B87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E7023A-BCCE-4201-AA47-17BB15CBB48C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657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4557" y="549086"/>
            <a:ext cx="6210776" cy="72009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94643" y="1629206"/>
            <a:ext cx="6615827" cy="43205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2905110" y="6360798"/>
            <a:ext cx="634666" cy="18466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700" b="1">
                <a:solidFill>
                  <a:schemeClr val="tx2"/>
                </a:solidFill>
              </a:defRPr>
            </a:lvl1pPr>
          </a:lstStyle>
          <a:p>
            <a:pPr defTabSz="767481"/>
            <a:fld id="{22FCF156-2266-4DDD-A756-6601C920D2AC}" type="datetime1">
              <a:rPr lang="nb-NO" smtClean="0">
                <a:solidFill>
                  <a:srgbClr val="2C4457"/>
                </a:solidFill>
              </a:rPr>
              <a:pPr defTabSz="767481"/>
              <a:t>03.04.2019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05501" y="6360798"/>
            <a:ext cx="3600450" cy="18466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700" b="1">
                <a:solidFill>
                  <a:schemeClr val="tx2"/>
                </a:solidFill>
              </a:defRPr>
            </a:lvl1pPr>
          </a:lstStyle>
          <a:p>
            <a:pPr defTabSz="767481"/>
            <a:endParaRPr lang="nb-NO" dirty="0">
              <a:solidFill>
                <a:srgbClr val="2C4457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533474" y="6360798"/>
            <a:ext cx="231608" cy="18466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700" b="1">
                <a:solidFill>
                  <a:schemeClr val="tx2"/>
                </a:solidFill>
              </a:defRPr>
            </a:lvl1pPr>
          </a:lstStyle>
          <a:p>
            <a:pPr defTabSz="767481"/>
            <a:fld id="{5751DFAA-887F-4071-8EAD-E8CA316FCF06}" type="slidenum">
              <a:rPr lang="nb-NO" smtClean="0">
                <a:solidFill>
                  <a:srgbClr val="2C4457"/>
                </a:solidFill>
              </a:rPr>
              <a:pPr defTabSz="767481"/>
              <a:t>‹#›</a:t>
            </a:fld>
            <a:endParaRPr lang="nb-NO" dirty="0">
              <a:solidFill>
                <a:srgbClr val="2C4457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51838"/>
            <a:ext cx="2439384" cy="606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044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  <p:sldLayoutId id="2147483819" r:id="rId13"/>
    <p:sldLayoutId id="2147483820" r:id="rId14"/>
    <p:sldLayoutId id="2147483821" r:id="rId15"/>
    <p:sldLayoutId id="2147483822" r:id="rId16"/>
    <p:sldLayoutId id="2147483823" r:id="rId17"/>
    <p:sldLayoutId id="2147483824" r:id="rId18"/>
    <p:sldLayoutId id="2147483825" r:id="rId19"/>
    <p:sldLayoutId id="2147483826" r:id="rId20"/>
    <p:sldLayoutId id="2147483827" r:id="rId21"/>
    <p:sldLayoutId id="2147483828" r:id="rId22"/>
    <p:sldLayoutId id="2147483829" r:id="rId23"/>
    <p:sldLayoutId id="2147483830" r:id="rId24"/>
    <p:sldLayoutId id="2147483831" r:id="rId25"/>
    <p:sldLayoutId id="2147483832" r:id="rId26"/>
    <p:sldLayoutId id="2147483833" r:id="rId27"/>
    <p:sldLayoutId id="2147483834" r:id="rId28"/>
  </p:sldLayoutIdLst>
  <p:hf hdr="0" ftr="0" dt="0"/>
  <p:txStyles>
    <p:titleStyle>
      <a:lvl1pPr algn="l" defTabSz="767481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51087" indent="-151087" algn="l" defTabSz="767481" rtl="0" eaLnBrk="1" latinLnBrk="0" hangingPunct="1">
        <a:lnSpc>
          <a:spcPct val="90000"/>
        </a:lnSpc>
        <a:spcBef>
          <a:spcPts val="840"/>
        </a:spcBef>
        <a:spcAft>
          <a:spcPts val="0"/>
        </a:spcAft>
        <a:buClrTx/>
        <a:buSzPct val="65000"/>
        <a:buFont typeface="Arial" panose="020B0604020202020204" pitchFamily="34" charset="0"/>
        <a:buChar char="■"/>
        <a:defRPr sz="1700" kern="1200">
          <a:solidFill>
            <a:schemeClr val="tx2"/>
          </a:solidFill>
          <a:latin typeface="+mn-lt"/>
          <a:ea typeface="+mn-ea"/>
          <a:cs typeface="+mn-cs"/>
        </a:defRPr>
      </a:lvl1pPr>
      <a:lvl2pPr marL="302160" indent="-151087" algn="l" defTabSz="767481" rtl="0" eaLnBrk="1" latinLnBrk="0" hangingPunct="1">
        <a:lnSpc>
          <a:spcPct val="90000"/>
        </a:lnSpc>
        <a:spcBef>
          <a:spcPts val="840"/>
        </a:spcBef>
        <a:spcAft>
          <a:spcPts val="0"/>
        </a:spcAft>
        <a:buClrTx/>
        <a:buFont typeface="Arial" panose="020B0604020202020204" pitchFamily="34" charset="0"/>
        <a:buChar char="•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453236" indent="-151087" algn="l" defTabSz="767481" rtl="0" eaLnBrk="1" latinLnBrk="0" hangingPunct="1">
        <a:lnSpc>
          <a:spcPct val="90000"/>
        </a:lnSpc>
        <a:spcBef>
          <a:spcPts val="280"/>
        </a:spcBef>
        <a:spcAft>
          <a:spcPts val="0"/>
        </a:spcAft>
        <a:buClrTx/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3pPr>
      <a:lvl4pPr marL="604320" indent="-151087" algn="l" defTabSz="767481" rtl="0" eaLnBrk="1" latinLnBrk="0" hangingPunct="1">
        <a:lnSpc>
          <a:spcPct val="90000"/>
        </a:lnSpc>
        <a:spcBef>
          <a:spcPts val="280"/>
        </a:spcBef>
        <a:spcAft>
          <a:spcPts val="0"/>
        </a:spcAft>
        <a:buClrTx/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4pPr>
      <a:lvl5pPr marL="755395" indent="-151087" algn="l" defTabSz="767481" rtl="0" eaLnBrk="1" latinLnBrk="0" hangingPunct="1">
        <a:lnSpc>
          <a:spcPct val="90000"/>
        </a:lnSpc>
        <a:spcBef>
          <a:spcPts val="280"/>
        </a:spcBef>
        <a:spcAft>
          <a:spcPts val="0"/>
        </a:spcAft>
        <a:buClrTx/>
        <a:buFont typeface="Arial" panose="020B0604020202020204" pitchFamily="34" charset="0"/>
        <a:buChar char="•"/>
        <a:defRPr sz="1300" kern="1200">
          <a:solidFill>
            <a:schemeClr val="tx2"/>
          </a:solidFill>
          <a:latin typeface="+mn-lt"/>
          <a:ea typeface="+mn-ea"/>
          <a:cs typeface="+mn-cs"/>
        </a:defRPr>
      </a:lvl5pPr>
      <a:lvl6pPr marL="2110583" indent="-191874" algn="l" defTabSz="767481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94316" indent="-191874" algn="l" defTabSz="767481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78056" indent="-191874" algn="l" defTabSz="767481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61800" indent="-191874" algn="l" defTabSz="767481" rtl="0" eaLnBrk="1" latinLnBrk="0" hangingPunct="1">
        <a:lnSpc>
          <a:spcPct val="90000"/>
        </a:lnSpc>
        <a:spcBef>
          <a:spcPts val="42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3744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7481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51221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34960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18704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02448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86188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69921" algn="l" defTabSz="7674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sz="4000" dirty="0"/>
              <a:t>Mal for prosjektinfo og statusoppdatering til nasjonale fora</a:t>
            </a:r>
            <a:br>
              <a:rPr lang="nb-NO" sz="2500" dirty="0"/>
            </a:b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60062" y="5470959"/>
            <a:ext cx="7110889" cy="799338"/>
          </a:xfrm>
        </p:spPr>
        <p:txBody>
          <a:bodyPr/>
          <a:lstStyle/>
          <a:p>
            <a:r>
              <a:rPr lang="nb-NO" sz="1800" b="1" dirty="0"/>
              <a:t>Gjelder for prosjekter og programmer i nasjonal e-helseportefølje</a:t>
            </a:r>
            <a:br>
              <a:rPr lang="nb-NO" dirty="0"/>
            </a:br>
            <a:endParaRPr lang="nb-NO" dirty="0"/>
          </a:p>
          <a:p>
            <a:r>
              <a:rPr lang="nb-NO" sz="1400" dirty="0"/>
              <a:t>Revidert i juni 2016</a:t>
            </a:r>
          </a:p>
        </p:txBody>
      </p:sp>
    </p:spTree>
    <p:extLst>
      <p:ext uri="{BB962C8B-B14F-4D97-AF65-F5344CB8AC3E}">
        <p14:creationId xmlns:p14="http://schemas.microsoft.com/office/powerpoint/2010/main" val="1972142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2</a:t>
            </a:fld>
            <a:endParaRPr lang="nb-NO">
              <a:solidFill>
                <a:srgbClr val="2C4457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dring i mal siden april 2016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611560" y="1700808"/>
            <a:ext cx="648072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Prosjektene og programmene bes om å legge inn forventede årlige forvaltningskostna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Er lagt inn i malen på side 5</a:t>
            </a:r>
          </a:p>
          <a:p>
            <a:endParaRPr lang="nb-NO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Prosjektene og programmene bes om å tydeliggjøre leveranser og budsjett for 201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Gjelder ved statusrapportering i september 2016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Er lagt inn i malen på side 7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nb-NO" dirty="0">
              <a:solidFill>
                <a:schemeClr val="tx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Nye prosjekter og programmer for 2017 bes om å legge ved styringsdokumentasj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dirty="0">
                <a:solidFill>
                  <a:schemeClr val="tx2"/>
                </a:solidFill>
              </a:rPr>
              <a:t>Henvisning til hvilke styringsdokumenter som legges ved er lagt inn i malen på side 7</a:t>
            </a:r>
          </a:p>
        </p:txBody>
      </p:sp>
    </p:spTree>
    <p:extLst>
      <p:ext uri="{BB962C8B-B14F-4D97-AF65-F5344CB8AC3E}">
        <p14:creationId xmlns:p14="http://schemas.microsoft.com/office/powerpoint/2010/main" val="5230322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362980" y="1413890"/>
            <a:ext cx="5174392" cy="431936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4008" tIns="32004" rIns="64008" bIns="32004" rtlCol="0" anchor="ctr"/>
          <a:lstStyle/>
          <a:p>
            <a:pPr algn="ctr"/>
            <a:endParaRPr lang="nb-NO"/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467545" y="1268760"/>
            <a:ext cx="5069828" cy="3760713"/>
          </a:xfrm>
        </p:spPr>
        <p:txBody>
          <a:bodyPr>
            <a:noAutofit/>
          </a:bodyPr>
          <a:lstStyle/>
          <a:p>
            <a:pPr lvl="2"/>
            <a:endParaRPr lang="nb-NO" sz="1400" dirty="0"/>
          </a:p>
          <a:p>
            <a:r>
              <a:rPr lang="nb-NO" sz="1400" dirty="0"/>
              <a:t>Side 4: Navn på virksomhet som rapporterer</a:t>
            </a:r>
          </a:p>
          <a:p>
            <a:endParaRPr lang="nb-NO" sz="1400" dirty="0"/>
          </a:p>
          <a:p>
            <a:r>
              <a:rPr lang="nb-NO" sz="1400" dirty="0"/>
              <a:t>Side 5: Mal for prosjektinformasjon</a:t>
            </a:r>
          </a:p>
          <a:p>
            <a:pPr lvl="1"/>
            <a:r>
              <a:rPr lang="nb-NO" sz="1400" dirty="0"/>
              <a:t>Brukes ved statusrapportering</a:t>
            </a:r>
          </a:p>
          <a:p>
            <a:pPr lvl="1"/>
            <a:r>
              <a:rPr lang="nb-NO" sz="1400" dirty="0"/>
              <a:t>Brukes ved innmelding av nye prosjekter/programmer</a:t>
            </a:r>
          </a:p>
          <a:p>
            <a:pPr lvl="1"/>
            <a:endParaRPr lang="nb-NO" sz="1400" dirty="0"/>
          </a:p>
          <a:p>
            <a:r>
              <a:rPr lang="nb-NO" sz="1400" dirty="0"/>
              <a:t>Side 6: Mal for statusrapportering</a:t>
            </a:r>
          </a:p>
          <a:p>
            <a:pPr lvl="1"/>
            <a:r>
              <a:rPr lang="nb-NO" sz="1400" dirty="0"/>
              <a:t>Brukes ved statusrapportering</a:t>
            </a:r>
          </a:p>
          <a:p>
            <a:endParaRPr lang="nb-NO" sz="1400" dirty="0"/>
          </a:p>
          <a:p>
            <a:r>
              <a:rPr lang="nb-NO" sz="1400" dirty="0"/>
              <a:t>Side 7: Mal for ytterligere informasjon vedr. 2017</a:t>
            </a:r>
          </a:p>
          <a:p>
            <a:pPr lvl="1"/>
            <a:r>
              <a:rPr lang="nb-NO" sz="1400" dirty="0"/>
              <a:t>Fylles ut for alle prosjekter (nye og videreførte) </a:t>
            </a:r>
            <a:r>
              <a:rPr lang="nb-NO" sz="1400" dirty="0" err="1"/>
              <a:t>ifm</a:t>
            </a:r>
            <a:r>
              <a:rPr lang="nb-NO" sz="1400" dirty="0"/>
              <a:t> rapportering i september 2016 </a:t>
            </a:r>
          </a:p>
          <a:p>
            <a:endParaRPr lang="nb-NO" sz="1400" dirty="0"/>
          </a:p>
          <a:p>
            <a:r>
              <a:rPr lang="nb-NO" sz="1400" dirty="0"/>
              <a:t>Side 8: Veileder for type investering</a:t>
            </a:r>
          </a:p>
          <a:p>
            <a:pPr lvl="1"/>
            <a:endParaRPr lang="nb-NO" sz="1400" dirty="0"/>
          </a:p>
          <a:p>
            <a:endParaRPr lang="nb-NO" sz="1400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3</a:t>
            </a:fld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395536" y="358568"/>
            <a:ext cx="6248432" cy="537297"/>
          </a:xfrm>
        </p:spPr>
        <p:txBody>
          <a:bodyPr>
            <a:noAutofit/>
          </a:bodyPr>
          <a:lstStyle/>
          <a:p>
            <a:pPr lvl="1"/>
            <a:r>
              <a:rPr lang="nb-NO" sz="20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nhold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2605" y="1916832"/>
            <a:ext cx="3066574" cy="3293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61002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kstSylinder 5"/>
          <p:cNvSpPr txBox="1"/>
          <p:nvPr/>
        </p:nvSpPr>
        <p:spPr>
          <a:xfrm>
            <a:off x="1070882" y="3145291"/>
            <a:ext cx="4548868" cy="518832"/>
          </a:xfrm>
          <a:prstGeom prst="rect">
            <a:avLst/>
          </a:prstGeom>
          <a:noFill/>
        </p:spPr>
        <p:txBody>
          <a:bodyPr wrap="square" lIns="102328" tIns="51167" rIns="102328" bIns="51167" rtlCol="0">
            <a:spAutoFit/>
          </a:bodyPr>
          <a:lstStyle/>
          <a:p>
            <a:pPr algn="ctr" defTabSz="767443"/>
            <a:r>
              <a:rPr lang="nb-NO" sz="2700" i="1" dirty="0">
                <a:solidFill>
                  <a:prstClr val="white"/>
                </a:solidFill>
                <a:latin typeface="Graphik Semibold"/>
                <a:ea typeface="ヒラギノ角ゴシック W2"/>
                <a:cs typeface="Graphik Semibold"/>
              </a:rPr>
              <a:t>Virksomhet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4344" y="0"/>
            <a:ext cx="1999656" cy="6858000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678" y="724374"/>
            <a:ext cx="1106050" cy="101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583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kstSylinder 11"/>
          <p:cNvSpPr txBox="1"/>
          <p:nvPr/>
        </p:nvSpPr>
        <p:spPr>
          <a:xfrm>
            <a:off x="5942597" y="116632"/>
            <a:ext cx="2963780" cy="57217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Prosjekt ID:  </a:t>
            </a:r>
            <a:r>
              <a:rPr lang="nb-NO" sz="900" dirty="0">
                <a:solidFill>
                  <a:prstClr val="black"/>
                </a:solidFill>
              </a:rPr>
              <a:t>&lt;fylles ut av nasjonalt porteføljekontor dersom prosjektet/programmet ikke allerede har en ID&gt;</a:t>
            </a: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13" name="TekstSylinder 12"/>
          <p:cNvSpPr txBox="1"/>
          <p:nvPr/>
        </p:nvSpPr>
        <p:spPr>
          <a:xfrm>
            <a:off x="236951" y="747288"/>
            <a:ext cx="5597868" cy="692784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rmAutofit/>
          </a:bodyPr>
          <a:lstStyle/>
          <a:p>
            <a:r>
              <a:rPr lang="nb-NO" sz="1000" b="1" dirty="0">
                <a:solidFill>
                  <a:prstClr val="black"/>
                </a:solidFill>
              </a:rPr>
              <a:t>Formål:</a:t>
            </a:r>
          </a:p>
        </p:txBody>
      </p:sp>
      <p:sp>
        <p:nvSpPr>
          <p:cNvPr id="17" name="TekstSylinder 16"/>
          <p:cNvSpPr txBox="1"/>
          <p:nvPr/>
        </p:nvSpPr>
        <p:spPr>
          <a:xfrm>
            <a:off x="5935261" y="3297672"/>
            <a:ext cx="2966225" cy="851408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000" dirty="0"/>
              <a:t>Avhengigheter og rammebetingelser:</a:t>
            </a:r>
          </a:p>
          <a:p>
            <a:r>
              <a:rPr lang="nb-NO" sz="1000" b="0" dirty="0"/>
              <a:t>&lt;Beskriv avhengigheter&gt;</a:t>
            </a:r>
          </a:p>
          <a:p>
            <a:endParaRPr lang="nb-NO" sz="1000" b="0" dirty="0"/>
          </a:p>
          <a:p>
            <a:endParaRPr lang="nb-NO" sz="1000" b="0" dirty="0"/>
          </a:p>
        </p:txBody>
      </p:sp>
      <p:sp>
        <p:nvSpPr>
          <p:cNvPr id="18" name="TekstSylinder 17"/>
          <p:cNvSpPr txBox="1"/>
          <p:nvPr/>
        </p:nvSpPr>
        <p:spPr>
          <a:xfrm>
            <a:off x="5942597" y="2132856"/>
            <a:ext cx="2963780" cy="1100892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000" dirty="0"/>
              <a:t>Berørte aktører (og hvordan):</a:t>
            </a:r>
          </a:p>
          <a:p>
            <a:r>
              <a:rPr lang="nb-NO" sz="1000" b="0" dirty="0"/>
              <a:t>&lt;Navn på prosjekter og andre aktører som prosjektet er avhengig av for å få levert </a:t>
            </a:r>
            <a:r>
              <a:rPr lang="nb-NO" sz="1000" b="0" dirty="0" err="1"/>
              <a:t>ihht</a:t>
            </a:r>
            <a:r>
              <a:rPr lang="nb-NO" sz="1000" b="0" dirty="0"/>
              <a:t> plan&gt;</a:t>
            </a:r>
          </a:p>
          <a:p>
            <a:r>
              <a:rPr lang="nb-NO" sz="1000" b="0" dirty="0"/>
              <a:t>&lt;Er prosjektet avhengig av EPJ-utvikling (angi om i stor eller liten grad)? I spesialist, primær og/eller fastlege? Tidsplan for dette? &gt;</a:t>
            </a:r>
            <a:endParaRPr lang="nb-NO" sz="1000" dirty="0"/>
          </a:p>
        </p:txBody>
      </p:sp>
      <p:sp>
        <p:nvSpPr>
          <p:cNvPr id="19" name="TekstSylinder 18"/>
          <p:cNvSpPr txBox="1"/>
          <p:nvPr/>
        </p:nvSpPr>
        <p:spPr>
          <a:xfrm>
            <a:off x="5942597" y="747288"/>
            <a:ext cx="2963780" cy="665488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000" b="0" dirty="0"/>
              <a:t>Hvordan støtter prosjektet nasjonal strategi? (f.eks. innsatsområde i Nasjonal handlingsplan for e-helse 2014-2016)  </a:t>
            </a:r>
          </a:p>
        </p:txBody>
      </p:sp>
      <p:sp>
        <p:nvSpPr>
          <p:cNvPr id="20" name="TekstSylinder 19"/>
          <p:cNvSpPr txBox="1"/>
          <p:nvPr/>
        </p:nvSpPr>
        <p:spPr>
          <a:xfrm>
            <a:off x="5942597" y="1484784"/>
            <a:ext cx="2963780" cy="576064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000" b="1" dirty="0">
                <a:solidFill>
                  <a:prstClr val="black"/>
                </a:solidFill>
              </a:rPr>
              <a:t>Type investering: </a:t>
            </a:r>
            <a:r>
              <a:rPr lang="nb-NO" sz="1000" dirty="0">
                <a:solidFill>
                  <a:prstClr val="black"/>
                </a:solidFill>
              </a:rPr>
              <a:t>&lt;Hvilken type investering er det (fornye, forbedre, modernisere, ivareta). Se veiledning.&gt;</a:t>
            </a:r>
          </a:p>
        </p:txBody>
      </p:sp>
      <p:sp>
        <p:nvSpPr>
          <p:cNvPr id="22" name="TekstSylinder 21"/>
          <p:cNvSpPr txBox="1"/>
          <p:nvPr/>
        </p:nvSpPr>
        <p:spPr>
          <a:xfrm>
            <a:off x="236951" y="2401888"/>
            <a:ext cx="2880000" cy="83186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000" b="1" dirty="0">
                <a:solidFill>
                  <a:prstClr val="black"/>
                </a:solidFill>
              </a:rPr>
              <a:t>Viktigste produkter/-leveranser:</a:t>
            </a:r>
          </a:p>
          <a:p>
            <a:endParaRPr lang="nb-NO" sz="1000" dirty="0">
              <a:solidFill>
                <a:prstClr val="black"/>
              </a:solidFill>
            </a:endParaRPr>
          </a:p>
        </p:txBody>
      </p:sp>
      <p:sp>
        <p:nvSpPr>
          <p:cNvPr id="16" name="Plassholder for dato 3"/>
          <p:cNvSpPr>
            <a:spLocks noGrp="1"/>
          </p:cNvSpPr>
          <p:nvPr>
            <p:ph type="dt" sz="quarter" idx="4294967295"/>
          </p:nvPr>
        </p:nvSpPr>
        <p:spPr bwMode="auto">
          <a:xfrm>
            <a:off x="6732240" y="6657338"/>
            <a:ext cx="1080120" cy="14401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3B68E9E-D75F-4337-A6F1-A3A47403F33E}" type="datetime1">
              <a:rPr lang="nb-NO" sz="800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 sz="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Plassholder for lysbildenumm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884368" y="6657336"/>
            <a:ext cx="648072" cy="14401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99C6A64-06FD-4BFE-A01E-0A652240DEE5}" type="slidenum">
              <a:rPr lang="nb-NO" sz="80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nb-NO" sz="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6" name="TekstSylinder 25"/>
          <p:cNvSpPr txBox="1"/>
          <p:nvPr/>
        </p:nvSpPr>
        <p:spPr>
          <a:xfrm>
            <a:off x="237659" y="3297672"/>
            <a:ext cx="5597160" cy="851408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000" dirty="0"/>
              <a:t>Hvem (aktør) bør ha ansvaret for prosjektets gevinster? </a:t>
            </a:r>
          </a:p>
          <a:p>
            <a:r>
              <a:rPr lang="nb-NO" sz="1000" dirty="0"/>
              <a:t>Er gevinstansvarlig forankret?</a:t>
            </a:r>
          </a:p>
          <a:p>
            <a:r>
              <a:rPr lang="nb-NO" sz="1000" dirty="0"/>
              <a:t>Er gevinstrealisering planlagt som en del av prosjektet?</a:t>
            </a:r>
            <a:endParaRPr lang="nb-NO" sz="1000" b="0" dirty="0"/>
          </a:p>
        </p:txBody>
      </p:sp>
      <p:sp>
        <p:nvSpPr>
          <p:cNvPr id="24" name="TekstSylinder 23"/>
          <p:cNvSpPr txBox="1"/>
          <p:nvPr/>
        </p:nvSpPr>
        <p:spPr>
          <a:xfrm>
            <a:off x="251520" y="1498432"/>
            <a:ext cx="5583299" cy="83186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000" b="1" dirty="0">
                <a:solidFill>
                  <a:prstClr val="black"/>
                </a:solidFill>
              </a:rPr>
              <a:t>Overordnet mål for prosjektet / programmet:</a:t>
            </a:r>
          </a:p>
          <a:p>
            <a:r>
              <a:rPr lang="nb-NO" sz="1000" dirty="0">
                <a:solidFill>
                  <a:prstClr val="black"/>
                </a:solidFill>
              </a:rPr>
              <a:t>&lt;Gjengi overordnet mål fra prosjektforslag / prosjektdirektiv&gt;</a:t>
            </a:r>
            <a:endParaRPr lang="nb-NO" sz="1000" b="1" dirty="0">
              <a:solidFill>
                <a:prstClr val="black"/>
              </a:solidFill>
            </a:endParaRPr>
          </a:p>
          <a:p>
            <a:endParaRPr lang="nb-NO" sz="1000" dirty="0">
              <a:solidFill>
                <a:prstClr val="black"/>
              </a:solidFill>
            </a:endParaRPr>
          </a:p>
        </p:txBody>
      </p:sp>
      <p:graphicFrame>
        <p:nvGraphicFramePr>
          <p:cNvPr id="27" name="Tabell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743691"/>
              </p:ext>
            </p:extLst>
          </p:nvPr>
        </p:nvGraphicFramePr>
        <p:xfrm>
          <a:off x="237659" y="4221088"/>
          <a:ext cx="5597160" cy="119228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5341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467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01580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000" b="1" dirty="0">
                          <a:solidFill>
                            <a:prstClr val="black"/>
                          </a:solidFill>
                        </a:rPr>
                        <a:t>Foreløpig estimat og finansiering </a:t>
                      </a:r>
                      <a:r>
                        <a:rPr lang="nb-NO" sz="800" dirty="0">
                          <a:solidFill>
                            <a:prstClr val="black"/>
                          </a:solidFill>
                        </a:rPr>
                        <a:t>(MNOK per år)</a:t>
                      </a:r>
                      <a:r>
                        <a:rPr lang="nb-NO" sz="1000" b="1" dirty="0">
                          <a:solidFill>
                            <a:prstClr val="black"/>
                          </a:solidFill>
                        </a:rPr>
                        <a:t>: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580"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2016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2017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Etter 2017</a:t>
                      </a:r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122">
                <a:tc>
                  <a:txBody>
                    <a:bodyPr/>
                    <a:lstStyle/>
                    <a:p>
                      <a:r>
                        <a:rPr lang="nb-NO" sz="1000" dirty="0"/>
                        <a:t>Investeringsbehov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6182">
                <a:tc>
                  <a:txBody>
                    <a:bodyPr/>
                    <a:lstStyle/>
                    <a:p>
                      <a:r>
                        <a:rPr lang="nb-NO" sz="1000" dirty="0"/>
                        <a:t>Hvem finansierer</a:t>
                      </a: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182">
                <a:tc>
                  <a:txBody>
                    <a:bodyPr/>
                    <a:lstStyle/>
                    <a:p>
                      <a:r>
                        <a:rPr lang="nb-NO" sz="1000" dirty="0">
                          <a:solidFill>
                            <a:srgbClr val="00B050"/>
                          </a:solidFill>
                        </a:rPr>
                        <a:t>Forventede</a:t>
                      </a:r>
                      <a:r>
                        <a:rPr lang="nb-NO" sz="1000" baseline="0" dirty="0">
                          <a:solidFill>
                            <a:srgbClr val="00B050"/>
                          </a:solidFill>
                        </a:rPr>
                        <a:t> årlige forvaltningskostnad</a:t>
                      </a:r>
                      <a:endParaRPr lang="nb-NO" sz="1000" dirty="0">
                        <a:solidFill>
                          <a:srgbClr val="00B050"/>
                        </a:solidFill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aphicFrame>
        <p:nvGraphicFramePr>
          <p:cNvPr id="23" name="Tabell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2276501"/>
              </p:ext>
            </p:extLst>
          </p:nvPr>
        </p:nvGraphicFramePr>
        <p:xfrm>
          <a:off x="236951" y="5521000"/>
          <a:ext cx="8652413" cy="132252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5906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539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390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539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57287">
                <a:tc gridSpan="4">
                  <a:txBody>
                    <a:bodyPr/>
                    <a:lstStyle/>
                    <a:p>
                      <a:r>
                        <a:rPr lang="nb-NO" sz="1100" b="1" dirty="0"/>
                        <a:t>Viktigste</a:t>
                      </a:r>
                      <a:r>
                        <a:rPr lang="nb-NO" sz="1100" b="1" baseline="0" dirty="0"/>
                        <a:t> kvalitative og kvantitative </a:t>
                      </a:r>
                      <a:r>
                        <a:rPr lang="nb-NO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vinster: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7287">
                <a:tc>
                  <a:txBody>
                    <a:bodyPr/>
                    <a:lstStyle/>
                    <a:p>
                      <a:r>
                        <a:rPr lang="nb-NO" sz="900" dirty="0"/>
                        <a:t>Navn/beskrivelse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900" dirty="0"/>
                        <a:t>Verdi/beløp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900" dirty="0">
                          <a:solidFill>
                            <a:schemeClr val="tx1"/>
                          </a:solidFill>
                        </a:rPr>
                        <a:t>Målgruppe (hvem skal realisere gevinsten)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nb-NO" sz="900" dirty="0">
                          <a:solidFill>
                            <a:schemeClr val="tx1"/>
                          </a:solidFill>
                        </a:rPr>
                        <a:t>Gevinsteier (navn, tittel,</a:t>
                      </a:r>
                      <a:r>
                        <a:rPr lang="nb-NO" sz="900" baseline="0" dirty="0">
                          <a:solidFill>
                            <a:schemeClr val="tx1"/>
                          </a:solidFill>
                        </a:rPr>
                        <a:t> virksomhet)</a:t>
                      </a:r>
                      <a:endParaRPr lang="nb-NO" sz="9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441">
                <a:tc>
                  <a:txBody>
                    <a:bodyPr/>
                    <a:lstStyle/>
                    <a:p>
                      <a:endParaRPr lang="nb-NO" sz="11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8825">
                <a:tc>
                  <a:txBody>
                    <a:bodyPr/>
                    <a:lstStyle/>
                    <a:p>
                      <a:endParaRPr lang="nb-NO" sz="11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8825">
                <a:tc>
                  <a:txBody>
                    <a:bodyPr/>
                    <a:lstStyle/>
                    <a:p>
                      <a:endParaRPr lang="nb-NO" sz="11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100" dirty="0">
                        <a:solidFill>
                          <a:srgbClr val="FF0000"/>
                        </a:solidFill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0" name="TekstSylinder 29"/>
          <p:cNvSpPr txBox="1"/>
          <p:nvPr/>
        </p:nvSpPr>
        <p:spPr>
          <a:xfrm>
            <a:off x="236951" y="116632"/>
            <a:ext cx="5584887" cy="57217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sp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Prosjekt- / programnavn: </a:t>
            </a:r>
            <a:r>
              <a:rPr lang="nb-NO" sz="1200" dirty="0">
                <a:solidFill>
                  <a:prstClr val="black"/>
                </a:solidFill>
              </a:rPr>
              <a:t>&lt;Navn på prosjekt/program&gt;</a:t>
            </a:r>
            <a:endParaRPr lang="nb-NO" sz="1200" b="1" dirty="0">
              <a:solidFill>
                <a:prstClr val="black"/>
              </a:solidFill>
            </a:endParaRPr>
          </a:p>
          <a:p>
            <a:r>
              <a:rPr lang="nb-NO" sz="1200" b="1" dirty="0">
                <a:solidFill>
                  <a:prstClr val="black"/>
                </a:solidFill>
              </a:rPr>
              <a:t>Prosjekteier: 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  <a:p>
            <a:r>
              <a:rPr lang="nb-NO" sz="1200" b="1" dirty="0">
                <a:solidFill>
                  <a:prstClr val="black"/>
                </a:solidFill>
              </a:rPr>
              <a:t>Prosjektleder: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</p:txBody>
      </p:sp>
      <p:sp>
        <p:nvSpPr>
          <p:cNvPr id="28" name="TekstSylinder 27"/>
          <p:cNvSpPr txBox="1"/>
          <p:nvPr/>
        </p:nvSpPr>
        <p:spPr>
          <a:xfrm>
            <a:off x="3170523" y="2401888"/>
            <a:ext cx="2664296" cy="83186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000" b="1" dirty="0">
                <a:solidFill>
                  <a:prstClr val="black"/>
                </a:solidFill>
              </a:rPr>
              <a:t>Når er prosjektets leveranser klare for utvikling/utbredelse?</a:t>
            </a:r>
          </a:p>
          <a:p>
            <a:endParaRPr lang="nb-NO" sz="1000" dirty="0">
              <a:solidFill>
                <a:prstClr val="black"/>
              </a:solidFill>
            </a:endParaRPr>
          </a:p>
        </p:txBody>
      </p:sp>
      <p:sp>
        <p:nvSpPr>
          <p:cNvPr id="31" name="TekstSylinder 30"/>
          <p:cNvSpPr txBox="1"/>
          <p:nvPr/>
        </p:nvSpPr>
        <p:spPr>
          <a:xfrm>
            <a:off x="5935261" y="4221088"/>
            <a:ext cx="2966225" cy="1192286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sz="1000" dirty="0"/>
              <a:t>Tidsplan for prosjektfaser </a:t>
            </a:r>
            <a:r>
              <a:rPr lang="nb-NO" sz="800" dirty="0"/>
              <a:t>(planlagt start- og sluttdato)</a:t>
            </a:r>
          </a:p>
          <a:p>
            <a:r>
              <a:rPr lang="nb-NO" sz="1000" dirty="0">
                <a:solidFill>
                  <a:schemeClr val="tx1"/>
                </a:solidFill>
              </a:rPr>
              <a:t>Idefase (BP1):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r>
              <a:rPr lang="nb-NO" sz="1000" b="0" dirty="0">
                <a:solidFill>
                  <a:schemeClr val="tx1"/>
                </a:solidFill>
              </a:rPr>
              <a:t> –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endParaRPr lang="nb-NO" sz="1000" b="0" dirty="0">
              <a:solidFill>
                <a:schemeClr val="tx1"/>
              </a:solidFill>
            </a:endParaRPr>
          </a:p>
          <a:p>
            <a:r>
              <a:rPr lang="nb-NO" sz="1000" dirty="0">
                <a:solidFill>
                  <a:schemeClr val="tx1"/>
                </a:solidFill>
              </a:rPr>
              <a:t>Konseptfase (BP2):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r>
              <a:rPr lang="nb-NO" sz="1000" b="0" dirty="0">
                <a:solidFill>
                  <a:schemeClr val="tx1"/>
                </a:solidFill>
              </a:rPr>
              <a:t> –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endParaRPr lang="nb-NO" sz="1000" b="0" dirty="0">
              <a:solidFill>
                <a:schemeClr val="tx1"/>
              </a:solidFill>
            </a:endParaRPr>
          </a:p>
          <a:p>
            <a:r>
              <a:rPr lang="nb-NO" sz="1000" dirty="0">
                <a:solidFill>
                  <a:schemeClr val="tx1"/>
                </a:solidFill>
              </a:rPr>
              <a:t>Planlegging (BP3):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r>
              <a:rPr lang="nb-NO" sz="1000" b="0" dirty="0">
                <a:solidFill>
                  <a:schemeClr val="tx1"/>
                </a:solidFill>
              </a:rPr>
              <a:t> –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endParaRPr lang="nb-NO" sz="1000" dirty="0">
              <a:solidFill>
                <a:schemeClr val="tx1"/>
              </a:solidFill>
            </a:endParaRPr>
          </a:p>
          <a:p>
            <a:r>
              <a:rPr lang="nb-NO" sz="1000" dirty="0">
                <a:solidFill>
                  <a:schemeClr val="tx1"/>
                </a:solidFill>
              </a:rPr>
              <a:t>Gjennomføring (BP4):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r>
              <a:rPr lang="nb-NO" sz="1000" b="0" dirty="0">
                <a:solidFill>
                  <a:schemeClr val="tx1"/>
                </a:solidFill>
              </a:rPr>
              <a:t> –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endParaRPr lang="nb-NO" sz="1000" dirty="0">
              <a:solidFill>
                <a:schemeClr val="tx1"/>
              </a:solidFill>
            </a:endParaRPr>
          </a:p>
          <a:p>
            <a:r>
              <a:rPr lang="nb-NO" sz="1000" dirty="0">
                <a:solidFill>
                  <a:schemeClr val="tx1"/>
                </a:solidFill>
              </a:rPr>
              <a:t>Realisering (BP5):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r>
              <a:rPr lang="nb-NO" sz="1000" b="0" dirty="0">
                <a:solidFill>
                  <a:schemeClr val="tx1"/>
                </a:solidFill>
              </a:rPr>
              <a:t> – </a:t>
            </a:r>
            <a:r>
              <a:rPr lang="nb-NO" sz="1000" b="0" dirty="0" err="1">
                <a:solidFill>
                  <a:schemeClr val="tx1"/>
                </a:solidFill>
              </a:rPr>
              <a:t>mm.åå</a:t>
            </a:r>
            <a:endParaRPr lang="nb-NO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773852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kstSylinder 20"/>
          <p:cNvSpPr txBox="1"/>
          <p:nvPr/>
        </p:nvSpPr>
        <p:spPr>
          <a:xfrm>
            <a:off x="204855" y="3926719"/>
            <a:ext cx="5749866" cy="2780178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risiko:</a:t>
            </a:r>
          </a:p>
          <a:p>
            <a:r>
              <a:rPr lang="nb-NO" sz="1100" b="0" dirty="0"/>
              <a:t>&lt;Legg inn prosjektets overordnede risiko ved å plassere sirkelen i matrisen&gt; </a:t>
            </a:r>
          </a:p>
        </p:txBody>
      </p:sp>
      <p:sp>
        <p:nvSpPr>
          <p:cNvPr id="16" name="Plassholder for dato 3"/>
          <p:cNvSpPr>
            <a:spLocks noGrp="1"/>
          </p:cNvSpPr>
          <p:nvPr>
            <p:ph type="dt" sz="quarter" idx="4294967295"/>
          </p:nvPr>
        </p:nvSpPr>
        <p:spPr bwMode="auto">
          <a:xfrm>
            <a:off x="6718592" y="6696658"/>
            <a:ext cx="1080120" cy="14401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93B68E9E-D75F-4337-A6F1-A3A47403F33E}" type="datetime1">
              <a:rPr lang="nb-NO" sz="800" smtClean="0">
                <a:solidFill>
                  <a:prstClr val="black">
                    <a:tint val="75000"/>
                  </a:prstClr>
                </a:solidFill>
              </a:rPr>
              <a:pPr/>
              <a:t>03.04.2019</a:t>
            </a:fld>
            <a:endParaRPr lang="nb-NO" sz="8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5" name="Plassholder for lysbildenummer 4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870720" y="6696656"/>
            <a:ext cx="648072" cy="14401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99C6A64-06FD-4BFE-A01E-0A652240DEE5}" type="slidenum">
              <a:rPr lang="nb-NO" sz="80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nb-NO" sz="8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9" name="TekstSylinder 28"/>
          <p:cNvSpPr txBox="1"/>
          <p:nvPr/>
        </p:nvSpPr>
        <p:spPr>
          <a:xfrm>
            <a:off x="6085674" y="5452133"/>
            <a:ext cx="2831905" cy="1240353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kvalitet: </a:t>
            </a:r>
          </a:p>
          <a:p>
            <a:r>
              <a:rPr lang="nb-NO" sz="900" b="0" dirty="0"/>
              <a:t>&lt;Status på kvalitet i henhold til kvalitetskrav for prosjektet (dersom det er avtalt kvalitetskrav med prosjekteier).&gt;</a:t>
            </a:r>
          </a:p>
          <a:p>
            <a:endParaRPr lang="nb-NO" sz="900" b="0" dirty="0"/>
          </a:p>
          <a:p>
            <a:endParaRPr lang="nb-NO" sz="900" b="0" dirty="0"/>
          </a:p>
          <a:p>
            <a:endParaRPr lang="nb-NO" sz="900" b="0" dirty="0"/>
          </a:p>
          <a:p>
            <a:pPr lvl="0"/>
            <a:endParaRPr lang="nb-NO" sz="900" b="0" i="1" dirty="0"/>
          </a:p>
          <a:p>
            <a:pPr lvl="0"/>
            <a:r>
              <a:rPr lang="nb-NO" sz="900" b="0" i="1" dirty="0"/>
              <a:t>Legg inn sirkel med fargekode (rød, gul, grønn)</a:t>
            </a:r>
          </a:p>
          <a:p>
            <a:endParaRPr lang="nb-NO" sz="900" b="0" dirty="0"/>
          </a:p>
        </p:txBody>
      </p:sp>
      <p:sp>
        <p:nvSpPr>
          <p:cNvPr id="14" name="TekstSylinder 10"/>
          <p:cNvSpPr txBox="1"/>
          <p:nvPr/>
        </p:nvSpPr>
        <p:spPr>
          <a:xfrm>
            <a:off x="236951" y="171224"/>
            <a:ext cx="5717770" cy="75684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sp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Prosjekt- / programnavn: </a:t>
            </a:r>
            <a:r>
              <a:rPr lang="nb-NO" sz="1200" dirty="0">
                <a:solidFill>
                  <a:prstClr val="black"/>
                </a:solidFill>
              </a:rPr>
              <a:t>&lt;Navn på prosjekt / delprosjekt + hovedprosjekt&gt;</a:t>
            </a:r>
            <a:endParaRPr lang="nb-NO" sz="1200" b="1" dirty="0">
              <a:solidFill>
                <a:prstClr val="black"/>
              </a:solidFill>
            </a:endParaRPr>
          </a:p>
          <a:p>
            <a:r>
              <a:rPr lang="nb-NO" sz="1200" b="1" dirty="0" err="1">
                <a:solidFill>
                  <a:prstClr val="black"/>
                </a:solidFill>
              </a:rPr>
              <a:t>ProsjektID</a:t>
            </a:r>
            <a:r>
              <a:rPr lang="nb-NO" sz="1200" b="1" dirty="0">
                <a:solidFill>
                  <a:prstClr val="black"/>
                </a:solidFill>
              </a:rPr>
              <a:t>: </a:t>
            </a:r>
          </a:p>
          <a:p>
            <a:r>
              <a:rPr lang="nb-NO" sz="1200" b="1" dirty="0">
                <a:solidFill>
                  <a:prstClr val="black"/>
                </a:solidFill>
              </a:rPr>
              <a:t>Prosjekteier: 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  <a:p>
            <a:r>
              <a:rPr lang="nb-NO" sz="1200" b="1" dirty="0">
                <a:solidFill>
                  <a:prstClr val="black"/>
                </a:solidFill>
              </a:rPr>
              <a:t>Prosjektleder: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</p:txBody>
      </p:sp>
      <p:sp>
        <p:nvSpPr>
          <p:cNvPr id="15" name="TekstSylinder 19"/>
          <p:cNvSpPr txBox="1"/>
          <p:nvPr/>
        </p:nvSpPr>
        <p:spPr>
          <a:xfrm>
            <a:off x="6084638" y="171224"/>
            <a:ext cx="2854837" cy="75684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Overordnet status for prosjekt/program:</a:t>
            </a: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6300192" y="421538"/>
            <a:ext cx="504056" cy="432048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830536" y="319008"/>
            <a:ext cx="2073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nb-NO" sz="1200" dirty="0">
                <a:solidFill>
                  <a:prstClr val="black"/>
                </a:solidFill>
              </a:rPr>
              <a:t>&lt;Legg inn farge grønn, gul eller rød, og viktigste årsak til farge på overordnet status&gt;</a:t>
            </a:r>
          </a:p>
        </p:txBody>
      </p:sp>
      <p:graphicFrame>
        <p:nvGraphicFramePr>
          <p:cNvPr id="17" name="Tabell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4552797"/>
              </p:ext>
            </p:extLst>
          </p:nvPr>
        </p:nvGraphicFramePr>
        <p:xfrm>
          <a:off x="236951" y="1025440"/>
          <a:ext cx="5703201" cy="188205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966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8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744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5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656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027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51611">
                <a:tc gridSpan="6">
                  <a:txBody>
                    <a:bodyPr/>
                    <a:lstStyle/>
                    <a:p>
                      <a:r>
                        <a:rPr lang="nb-NO" sz="1000" b="1" dirty="0"/>
                        <a:t>Prosjektets</a:t>
                      </a:r>
                      <a:r>
                        <a:rPr lang="nb-NO" sz="1000" b="1" baseline="0" dirty="0"/>
                        <a:t> budsjett </a:t>
                      </a:r>
                      <a:r>
                        <a:rPr lang="nb-NO" sz="800" b="0" baseline="0" dirty="0"/>
                        <a:t>&lt;Prosjektets totale budsjett for hele prosjektets levetid, inkludert kostnader knyttet til innføring/utbredelse&gt;</a:t>
                      </a:r>
                      <a:endParaRPr lang="nb-NO" sz="8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nb-NO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endParaRPr lang="nb-NO" sz="10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Før 201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2016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201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Etter 2017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000" dirty="0"/>
                        <a:t>Totalt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r>
                        <a:rPr lang="nb-NO" sz="1000" dirty="0"/>
                        <a:t>Totale budsjett (</a:t>
                      </a:r>
                      <a:r>
                        <a:rPr lang="nb-NO" sz="1000" dirty="0" err="1"/>
                        <a:t>mill</a:t>
                      </a:r>
                      <a:r>
                        <a:rPr lang="nb-NO" sz="1000" baseline="0" dirty="0"/>
                        <a:t> NOK)</a:t>
                      </a:r>
                      <a:endParaRPr lang="nb-NO" sz="10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r>
                        <a:rPr lang="nb-NO" sz="1000" dirty="0"/>
                        <a:t>Budsjett til IKT</a:t>
                      </a:r>
                      <a:r>
                        <a:rPr lang="nb-NO" sz="1000" baseline="0" dirty="0"/>
                        <a:t> (</a:t>
                      </a:r>
                      <a:r>
                        <a:rPr lang="nb-NO" sz="1000" baseline="0" dirty="0" err="1"/>
                        <a:t>mill</a:t>
                      </a:r>
                      <a:r>
                        <a:rPr lang="nb-NO" sz="1000" baseline="0" dirty="0"/>
                        <a:t> NOK)</a:t>
                      </a:r>
                      <a:endParaRPr lang="nb-NO" sz="1000" dirty="0"/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Budsjett til EPJ-leverandører (</a:t>
                      </a:r>
                      <a:r>
                        <a:rPr lang="nb-NO" sz="1000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 NOK)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Faktiske kostnader (totale, </a:t>
                      </a:r>
                      <a:r>
                        <a:rPr lang="nb-NO" sz="1000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 NOK)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5074">
                <a:tc>
                  <a:txBody>
                    <a:bodyPr/>
                    <a:lstStyle/>
                    <a:p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Prognose (totale, </a:t>
                      </a:r>
                      <a:r>
                        <a:rPr lang="nb-NO" sz="1000" dirty="0" err="1">
                          <a:solidFill>
                            <a:schemeClr val="tx1"/>
                          </a:solidFill>
                        </a:rPr>
                        <a:t>mill</a:t>
                      </a:r>
                      <a:r>
                        <a:rPr lang="nb-NO" sz="1000" baseline="0" dirty="0">
                          <a:solidFill>
                            <a:schemeClr val="tx1"/>
                          </a:solidFill>
                        </a:rPr>
                        <a:t> NOK</a:t>
                      </a:r>
                      <a:r>
                        <a:rPr lang="nb-NO" sz="1000" dirty="0">
                          <a:solidFill>
                            <a:schemeClr val="tx1"/>
                          </a:solidFill>
                        </a:rPr>
                        <a:t>)</a:t>
                      </a:r>
                    </a:p>
                  </a:txBody>
                  <a:tcPr marL="36000" marR="36000" marT="36000" marB="36000" anchor="ctr">
                    <a:lnL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000" dirty="0"/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2" name="Gruppe 1"/>
          <p:cNvGrpSpPr/>
          <p:nvPr/>
        </p:nvGrpSpPr>
        <p:grpSpPr>
          <a:xfrm>
            <a:off x="3169964" y="4502783"/>
            <a:ext cx="2914204" cy="2224937"/>
            <a:chOff x="3169964" y="4502783"/>
            <a:chExt cx="2914204" cy="2224937"/>
          </a:xfrm>
        </p:grpSpPr>
        <p:graphicFrame>
          <p:nvGraphicFramePr>
            <p:cNvPr id="19" name="Plassholder for innhold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595763515"/>
                </p:ext>
              </p:extLst>
            </p:nvPr>
          </p:nvGraphicFramePr>
          <p:xfrm>
            <a:off x="3866489" y="4502783"/>
            <a:ext cx="1926710" cy="1828760"/>
          </p:xfrm>
          <a:graphic>
            <a:graphicData uri="http://schemas.openxmlformats.org/drawingml/2006/table">
              <a:tbl>
                <a:tblPr firstRow="1" bandRow="1">
                  <a:effectLst/>
                  <a:tableStyleId>{D7AC3CCA-C797-4891-BE02-D94E43425B78}</a:tableStyleId>
                </a:tblPr>
                <a:tblGrid>
                  <a:gridCol w="385342">
                    <a:extLst>
                      <a:ext uri="{9D8B030D-6E8A-4147-A177-3AD203B41FA5}">
                        <a16:colId xmlns:a16="http://schemas.microsoft.com/office/drawing/2014/main" val="20000"/>
                      </a:ext>
                    </a:extLst>
                  </a:gridCol>
                  <a:gridCol w="385342">
                    <a:extLst>
                      <a:ext uri="{9D8B030D-6E8A-4147-A177-3AD203B41FA5}">
                        <a16:colId xmlns:a16="http://schemas.microsoft.com/office/drawing/2014/main" val="20001"/>
                      </a:ext>
                    </a:extLst>
                  </a:gridCol>
                  <a:gridCol w="385342">
                    <a:extLst>
                      <a:ext uri="{9D8B030D-6E8A-4147-A177-3AD203B41FA5}">
                        <a16:colId xmlns:a16="http://schemas.microsoft.com/office/drawing/2014/main" val="20002"/>
                      </a:ext>
                    </a:extLst>
                  </a:gridCol>
                  <a:gridCol w="385342">
                    <a:extLst>
                      <a:ext uri="{9D8B030D-6E8A-4147-A177-3AD203B41FA5}">
                        <a16:colId xmlns:a16="http://schemas.microsoft.com/office/drawing/2014/main" val="20003"/>
                      </a:ext>
                    </a:extLst>
                  </a:gridCol>
                  <a:gridCol w="385342">
                    <a:extLst>
                      <a:ext uri="{9D8B030D-6E8A-4147-A177-3AD203B41FA5}">
                        <a16:colId xmlns:a16="http://schemas.microsoft.com/office/drawing/2014/main" val="20004"/>
                      </a:ext>
                    </a:extLst>
                  </a:gridCol>
                </a:tblGrid>
                <a:tr h="323590"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0"/>
                    </a:ext>
                  </a:extLst>
                </a:tr>
                <a:tr h="323590"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nb-NO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1"/>
                    </a:ext>
                  </a:extLst>
                </a:tr>
                <a:tr h="323590"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nb-NO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nb-NO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nb-NO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EA380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2"/>
                    </a:ext>
                  </a:extLst>
                </a:tr>
                <a:tr h="323590"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algn="l" defTabSz="914400" rtl="0" eaLnBrk="1" latinLnBrk="0" hangingPunct="1"/>
                        <a:endParaRPr lang="nb-NO" sz="18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3"/>
                    </a:ext>
                  </a:extLst>
                </a:tr>
                <a:tr h="323590"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00B05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tc>
                    <a:txBody>
                      <a:bodyPr/>
                      <a:lstStyle/>
                      <a:p>
                        <a:endParaRPr lang="nb-NO" sz="1800" dirty="0"/>
                      </a:p>
                    </a:txBody>
                    <a:tcPr marL="91458" marR="91458" marT="45716" marB="45716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 w="12700" cmpd="sng">
                        <a:noFill/>
                        <a:prstDash val="solid"/>
                      </a:lnTlToBr>
                      <a:lnBlToTr w="12700" cmpd="sng">
                        <a:noFill/>
                        <a:prstDash val="solid"/>
                      </a:lnBlToTr>
                      <a:solidFill>
                        <a:srgbClr val="FFFF00"/>
                      </a:solidFill>
                    </a:tcPr>
                  </a:tc>
                  <a:extLst>
                    <a:ext uri="{0D108BD9-81ED-4DB2-BD59-A6C34878D82A}">
                      <a16:rowId xmlns:a16="http://schemas.microsoft.com/office/drawing/2014/main" val="10004"/>
                    </a:ext>
                  </a:extLst>
                </a:tr>
              </a:tbl>
            </a:graphicData>
          </a:graphic>
        </p:graphicFrame>
        <p:sp>
          <p:nvSpPr>
            <p:cNvPr id="20" name="Rectangle 29"/>
            <p:cNvSpPr>
              <a:spLocks noChangeArrowheads="1"/>
            </p:cNvSpPr>
            <p:nvPr/>
          </p:nvSpPr>
          <p:spPr bwMode="auto">
            <a:xfrm>
              <a:off x="4341549" y="6440383"/>
              <a:ext cx="1008063" cy="28733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anchor="ctr"/>
            <a:lstStyle/>
            <a:p>
              <a:pPr algn="ctr">
                <a:lnSpc>
                  <a:spcPct val="80000"/>
                </a:lnSpc>
                <a:spcBef>
                  <a:spcPct val="35000"/>
                </a:spcBef>
              </a:pPr>
              <a:r>
                <a:rPr lang="nb-NO" sz="1000" b="1" baseline="-25000" dirty="0">
                  <a:solidFill>
                    <a:srgbClr val="000000"/>
                  </a:solidFill>
                  <a:ea typeface="MS PGothic" pitchFamily="34" charset="-128"/>
                </a:rPr>
                <a:t>Konsekvens</a:t>
              </a:r>
            </a:p>
          </p:txBody>
        </p:sp>
        <p:sp>
          <p:nvSpPr>
            <p:cNvPr id="22" name="TekstSylinder 10"/>
            <p:cNvSpPr txBox="1">
              <a:spLocks noChangeArrowheads="1"/>
            </p:cNvSpPr>
            <p:nvPr/>
          </p:nvSpPr>
          <p:spPr bwMode="auto">
            <a:xfrm>
              <a:off x="3737007" y="6345097"/>
              <a:ext cx="576064" cy="168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Ubetydelig</a:t>
              </a:r>
            </a:p>
          </p:txBody>
        </p:sp>
        <p:sp>
          <p:nvSpPr>
            <p:cNvPr id="24" name="TekstSylinder 11"/>
            <p:cNvSpPr txBox="1">
              <a:spLocks noChangeArrowheads="1"/>
            </p:cNvSpPr>
            <p:nvPr/>
          </p:nvSpPr>
          <p:spPr bwMode="auto">
            <a:xfrm>
              <a:off x="4264865" y="6344118"/>
              <a:ext cx="342276" cy="166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Lav</a:t>
              </a:r>
            </a:p>
          </p:txBody>
        </p:sp>
        <p:sp>
          <p:nvSpPr>
            <p:cNvPr id="26" name="TekstSylinder 12"/>
            <p:cNvSpPr txBox="1">
              <a:spLocks noChangeArrowheads="1"/>
            </p:cNvSpPr>
            <p:nvPr/>
          </p:nvSpPr>
          <p:spPr bwMode="auto">
            <a:xfrm>
              <a:off x="4564289" y="6338867"/>
              <a:ext cx="519731" cy="168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Moderat</a:t>
              </a:r>
            </a:p>
          </p:txBody>
        </p:sp>
        <p:sp>
          <p:nvSpPr>
            <p:cNvPr id="27" name="TekstSylinder 13"/>
            <p:cNvSpPr txBox="1">
              <a:spLocks noChangeArrowheads="1"/>
            </p:cNvSpPr>
            <p:nvPr/>
          </p:nvSpPr>
          <p:spPr bwMode="auto">
            <a:xfrm>
              <a:off x="4995757" y="6336851"/>
              <a:ext cx="431106" cy="1652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Alvorlig</a:t>
              </a:r>
            </a:p>
          </p:txBody>
        </p:sp>
        <p:sp>
          <p:nvSpPr>
            <p:cNvPr id="28" name="TekstSylinder 9"/>
            <p:cNvSpPr txBox="1">
              <a:spLocks noChangeArrowheads="1"/>
            </p:cNvSpPr>
            <p:nvPr/>
          </p:nvSpPr>
          <p:spPr bwMode="auto">
            <a:xfrm>
              <a:off x="5363443" y="6335913"/>
              <a:ext cx="720725" cy="166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Svært alvorlig</a:t>
              </a: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 rot="16200000">
              <a:off x="2809601" y="5295243"/>
              <a:ext cx="1008063" cy="28733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>
                <a:lnSpc>
                  <a:spcPct val="80000"/>
                </a:lnSpc>
                <a:spcBef>
                  <a:spcPct val="35000"/>
                </a:spcBef>
              </a:pPr>
              <a:r>
                <a:rPr lang="nb-NO" sz="1000" b="1" baseline="-25000" dirty="0">
                  <a:solidFill>
                    <a:srgbClr val="000000"/>
                  </a:solidFill>
                  <a:ea typeface="MS PGothic" pitchFamily="34" charset="-128"/>
                </a:rPr>
                <a:t>Sannsynlighet</a:t>
              </a:r>
            </a:p>
          </p:txBody>
        </p:sp>
        <p:sp>
          <p:nvSpPr>
            <p:cNvPr id="32" name="TekstSylinder 2"/>
            <p:cNvSpPr txBox="1">
              <a:spLocks noChangeArrowheads="1"/>
            </p:cNvSpPr>
            <p:nvPr/>
          </p:nvSpPr>
          <p:spPr bwMode="auto">
            <a:xfrm>
              <a:off x="3376644" y="4610710"/>
              <a:ext cx="633861" cy="168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Svært høy</a:t>
              </a:r>
            </a:p>
          </p:txBody>
        </p:sp>
        <p:sp>
          <p:nvSpPr>
            <p:cNvPr id="33" name="TekstSylinder 5"/>
            <p:cNvSpPr txBox="1">
              <a:spLocks noChangeArrowheads="1"/>
            </p:cNvSpPr>
            <p:nvPr/>
          </p:nvSpPr>
          <p:spPr bwMode="auto">
            <a:xfrm>
              <a:off x="3376644" y="4954113"/>
              <a:ext cx="633861" cy="168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Høy</a:t>
              </a:r>
            </a:p>
          </p:txBody>
        </p:sp>
        <p:sp>
          <p:nvSpPr>
            <p:cNvPr id="34" name="TekstSylinder 6"/>
            <p:cNvSpPr txBox="1">
              <a:spLocks noChangeArrowheads="1"/>
            </p:cNvSpPr>
            <p:nvPr/>
          </p:nvSpPr>
          <p:spPr bwMode="auto">
            <a:xfrm>
              <a:off x="3376644" y="5316808"/>
              <a:ext cx="633861" cy="166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Moderat</a:t>
              </a:r>
            </a:p>
          </p:txBody>
        </p:sp>
        <p:sp>
          <p:nvSpPr>
            <p:cNvPr id="35" name="TekstSylinder 7"/>
            <p:cNvSpPr txBox="1">
              <a:spLocks noChangeArrowheads="1"/>
            </p:cNvSpPr>
            <p:nvPr/>
          </p:nvSpPr>
          <p:spPr bwMode="auto">
            <a:xfrm>
              <a:off x="3376644" y="5719096"/>
              <a:ext cx="633861" cy="1661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Liten</a:t>
              </a:r>
            </a:p>
          </p:txBody>
        </p:sp>
        <p:sp>
          <p:nvSpPr>
            <p:cNvPr id="36" name="TekstSylinder 8"/>
            <p:cNvSpPr txBox="1">
              <a:spLocks noChangeArrowheads="1"/>
            </p:cNvSpPr>
            <p:nvPr/>
          </p:nvSpPr>
          <p:spPr bwMode="auto">
            <a:xfrm>
              <a:off x="3376644" y="6082190"/>
              <a:ext cx="633861" cy="1680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lnSpc>
                  <a:spcPct val="80000"/>
                </a:lnSpc>
                <a:spcBef>
                  <a:spcPct val="35000"/>
                </a:spcBef>
                <a:spcAft>
                  <a:spcPct val="0"/>
                </a:spcAft>
                <a:defRPr sz="1000" baseline="-25000">
                  <a:solidFill>
                    <a:srgbClr val="000000"/>
                  </a:solidFill>
                  <a:latin typeface="Arial Narrow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80000"/>
                </a:lnSpc>
                <a:spcBef>
                  <a:spcPct val="35000"/>
                </a:spcBef>
              </a:pPr>
              <a:r>
                <a:rPr lang="nb-NO" sz="900" dirty="0">
                  <a:latin typeface="+mn-lt"/>
                </a:rPr>
                <a:t>Svært liten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204856" y="4473166"/>
            <a:ext cx="296510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nb-NO" sz="1100" dirty="0">
                <a:solidFill>
                  <a:prstClr val="black"/>
                </a:solidFill>
              </a:rPr>
              <a:t>&lt;</a:t>
            </a:r>
            <a:r>
              <a:rPr lang="nb-NO" sz="1100" dirty="0"/>
              <a:t> Legg inn kort beskrivelse av de 3-5 viktigste risikoene </a:t>
            </a:r>
            <a:r>
              <a:rPr lang="nb-NO" sz="1100" dirty="0">
                <a:solidFill>
                  <a:prstClr val="black"/>
                </a:solidFill>
              </a:rPr>
              <a:t>&gt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/>
                </a:solidFill>
              </a:rPr>
              <a:t>xxx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/>
                </a:solidFill>
              </a:rPr>
              <a:t>xxx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/>
                </a:solidFill>
              </a:rPr>
              <a:t>xxx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nb-NO" sz="1100" dirty="0">
                <a:solidFill>
                  <a:prstClr val="black"/>
                </a:solidFill>
              </a:rPr>
              <a:t>xxx</a:t>
            </a:r>
          </a:p>
        </p:txBody>
      </p:sp>
      <p:sp>
        <p:nvSpPr>
          <p:cNvPr id="8" name="Oval 7"/>
          <p:cNvSpPr/>
          <p:nvPr/>
        </p:nvSpPr>
        <p:spPr>
          <a:xfrm>
            <a:off x="4707081" y="4086952"/>
            <a:ext cx="339468" cy="23608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0" name="TekstSylinder 26"/>
          <p:cNvSpPr txBox="1"/>
          <p:nvPr/>
        </p:nvSpPr>
        <p:spPr>
          <a:xfrm>
            <a:off x="204855" y="3032564"/>
            <a:ext cx="5749866" cy="797419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gevinst:</a:t>
            </a:r>
          </a:p>
          <a:p>
            <a:pPr lvl="0"/>
            <a:r>
              <a:rPr lang="nb-NO" sz="800" b="0" dirty="0"/>
              <a:t>&lt;</a:t>
            </a:r>
            <a:r>
              <a:rPr lang="nb-NO" sz="900" b="0" dirty="0"/>
              <a:t>Status på gevinster.&gt;</a:t>
            </a:r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lvl="0"/>
            <a:r>
              <a:rPr lang="nb-NO" sz="900" b="0" i="1" dirty="0"/>
              <a:t>Legg inn sirkel med fargekode (rød, gul, grønn)</a:t>
            </a:r>
          </a:p>
          <a:p>
            <a:pPr lvl="0"/>
            <a:r>
              <a:rPr lang="nb-NO" sz="1800" b="0" dirty="0"/>
              <a:t> </a:t>
            </a:r>
          </a:p>
          <a:p>
            <a:r>
              <a:rPr lang="nb-NO" dirty="0"/>
              <a:t> </a:t>
            </a:r>
          </a:p>
          <a:p>
            <a:endParaRPr lang="nb-NO" dirty="0"/>
          </a:p>
        </p:txBody>
      </p:sp>
      <p:sp>
        <p:nvSpPr>
          <p:cNvPr id="38" name="TekstSylinder 26"/>
          <p:cNvSpPr txBox="1"/>
          <p:nvPr/>
        </p:nvSpPr>
        <p:spPr>
          <a:xfrm>
            <a:off x="6084638" y="2695271"/>
            <a:ext cx="2854837" cy="1148359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ressurser: </a:t>
            </a:r>
          </a:p>
          <a:p>
            <a:endParaRPr lang="nb-NO" dirty="0"/>
          </a:p>
        </p:txBody>
      </p:sp>
      <p:sp>
        <p:nvSpPr>
          <p:cNvPr id="39" name="TekstSylinder 26"/>
          <p:cNvSpPr txBox="1"/>
          <p:nvPr/>
        </p:nvSpPr>
        <p:spPr>
          <a:xfrm>
            <a:off x="6084168" y="1066384"/>
            <a:ext cx="2865225" cy="1539464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fremdrift: </a:t>
            </a:r>
          </a:p>
          <a:p>
            <a:pPr lvl="0"/>
            <a:r>
              <a:rPr lang="nb-NO" sz="800" b="0" dirty="0"/>
              <a:t>&lt;</a:t>
            </a:r>
            <a:r>
              <a:rPr lang="nb-NO" sz="900" b="0" dirty="0"/>
              <a:t>Status på fremdrift i henhold til tidsplan: Legg til kort beskrivelse av eventuelle avvik.&gt;</a:t>
            </a:r>
          </a:p>
          <a:p>
            <a:pPr marL="171450" lvl="0" indent="-171450">
              <a:buFontTx/>
              <a:buChar char="-"/>
            </a:pPr>
            <a:r>
              <a:rPr lang="nb-NO" sz="900" b="0" dirty="0"/>
              <a:t>Grønn: </a:t>
            </a:r>
            <a:r>
              <a:rPr lang="nb-NO" sz="900" b="0" dirty="0" err="1"/>
              <a:t>ihht</a:t>
            </a:r>
            <a:r>
              <a:rPr lang="nb-NO" sz="900" b="0" dirty="0"/>
              <a:t> plan (nå og forventet fremover)</a:t>
            </a:r>
          </a:p>
          <a:p>
            <a:pPr marL="171450" lvl="0" indent="-171450">
              <a:buFontTx/>
              <a:buChar char="-"/>
            </a:pPr>
            <a:r>
              <a:rPr lang="nb-NO" sz="900" b="0" dirty="0"/>
              <a:t>Gul: fare for avvik fremover</a:t>
            </a:r>
          </a:p>
          <a:p>
            <a:pPr marL="171450" lvl="0" indent="-171450">
              <a:buFontTx/>
              <a:buChar char="-"/>
            </a:pPr>
            <a:r>
              <a:rPr lang="nb-NO" sz="900" b="0" dirty="0"/>
              <a:t>Rød: forsinket</a:t>
            </a:r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lvl="0"/>
            <a:r>
              <a:rPr lang="nb-NO" sz="900" b="0" i="1" dirty="0"/>
              <a:t>Legg inn sirkel med fargekode (rød, gul, grønn)</a:t>
            </a:r>
          </a:p>
          <a:p>
            <a:endParaRPr lang="nb-NO" dirty="0"/>
          </a:p>
          <a:p>
            <a:endParaRPr lang="nb-NO" dirty="0"/>
          </a:p>
          <a:p>
            <a:pPr lvl="0"/>
            <a:r>
              <a:rPr lang="nb-NO" sz="800" b="0" dirty="0"/>
              <a:t>&lt;</a:t>
            </a:r>
            <a:r>
              <a:rPr lang="nb-NO" sz="900" b="0" dirty="0"/>
              <a:t>Status på ressurser i henhold til behov og plan: Legg til kort beskrivelse av eventuelle avvik.&gt;</a:t>
            </a:r>
          </a:p>
          <a:p>
            <a:pPr marL="171450" lvl="0" indent="-171450">
              <a:buFontTx/>
              <a:buChar char="-"/>
            </a:pPr>
            <a:br>
              <a:rPr lang="nb-NO" sz="900" b="0" dirty="0"/>
            </a:b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lvl="0"/>
            <a:r>
              <a:rPr lang="nb-NO" sz="900" b="0" i="1" dirty="0"/>
              <a:t>Legg inn sirkel med fargekode (rød, gul, grønn)</a:t>
            </a:r>
          </a:p>
          <a:p>
            <a:endParaRPr lang="nb-NO" dirty="0"/>
          </a:p>
        </p:txBody>
      </p:sp>
      <p:sp>
        <p:nvSpPr>
          <p:cNvPr id="40" name="TekstSylinder 26"/>
          <p:cNvSpPr txBox="1"/>
          <p:nvPr/>
        </p:nvSpPr>
        <p:spPr>
          <a:xfrm>
            <a:off x="6085177" y="3926719"/>
            <a:ext cx="2842875" cy="1446497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Autofit/>
          </a:bodyPr>
          <a:lstStyle>
            <a:defPPr>
              <a:defRPr lang="nb-NO"/>
            </a:defPPr>
            <a:lvl1pPr>
              <a:defRPr sz="1200" b="1">
                <a:solidFill>
                  <a:prstClr val="black"/>
                </a:solidFill>
              </a:defRPr>
            </a:lvl1pPr>
          </a:lstStyle>
          <a:p>
            <a:r>
              <a:rPr lang="nb-NO" dirty="0"/>
              <a:t>Status avhengigheter:</a:t>
            </a:r>
          </a:p>
          <a:p>
            <a:pPr lvl="0"/>
            <a:r>
              <a:rPr lang="nb-NO" sz="800" b="0" dirty="0"/>
              <a:t>&lt;</a:t>
            </a:r>
            <a:r>
              <a:rPr lang="nb-NO" sz="900" b="0" dirty="0"/>
              <a:t>Status på avhengigheter.&gt;</a:t>
            </a:r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br>
              <a:rPr lang="nb-NO" sz="900" b="0" dirty="0"/>
            </a:b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marL="171450" lvl="0" indent="-171450">
              <a:buFontTx/>
              <a:buChar char="-"/>
            </a:pPr>
            <a:endParaRPr lang="nb-NO" sz="900" b="0" dirty="0"/>
          </a:p>
          <a:p>
            <a:pPr lvl="0"/>
            <a:r>
              <a:rPr lang="nb-NO" sz="900" b="0" i="1" dirty="0"/>
              <a:t>Legg inn sirkel med fargekode (rød, gul, grønn)</a:t>
            </a:r>
          </a:p>
          <a:p>
            <a:r>
              <a:rPr lang="nb-NO" dirty="0"/>
              <a:t>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8686485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/>
          <p:cNvSpPr>
            <a:spLocks noGrp="1"/>
          </p:cNvSpPr>
          <p:nvPr>
            <p:ph type="title"/>
          </p:nvPr>
        </p:nvSpPr>
        <p:spPr>
          <a:xfrm>
            <a:off x="251520" y="-18256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nb-NO" sz="2400" dirty="0"/>
              <a:t>Utfyllende informasjon angående 2018</a:t>
            </a:r>
            <a:br>
              <a:rPr lang="nb-NO" sz="2400" dirty="0"/>
            </a:br>
            <a:r>
              <a:rPr lang="nb-NO" sz="2400" dirty="0"/>
              <a:t>(gjelder både nye og videreførte prosjekter og programmer)</a:t>
            </a:r>
          </a:p>
        </p:txBody>
      </p:sp>
      <p:sp>
        <p:nvSpPr>
          <p:cNvPr id="6" name="TekstSylinder 5"/>
          <p:cNvSpPr txBox="1"/>
          <p:nvPr/>
        </p:nvSpPr>
        <p:spPr>
          <a:xfrm>
            <a:off x="5942597" y="1169456"/>
            <a:ext cx="2963780" cy="57217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bIns="0" rtlCol="0">
            <a:no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Prosjekt ID:  </a:t>
            </a:r>
            <a:r>
              <a:rPr lang="nb-NO" sz="900" dirty="0">
                <a:solidFill>
                  <a:prstClr val="black"/>
                </a:solidFill>
              </a:rPr>
              <a:t>&lt;fylles ut av nasjonalt porteføljekontor dersom prosjektet/programmet ikke allerede har en ID&gt;</a:t>
            </a: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7" name="TekstSylinder 6"/>
          <p:cNvSpPr txBox="1"/>
          <p:nvPr/>
        </p:nvSpPr>
        <p:spPr>
          <a:xfrm>
            <a:off x="236951" y="1800112"/>
            <a:ext cx="8669426" cy="1196840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rmAutofit/>
          </a:bodyPr>
          <a:lstStyle/>
          <a:p>
            <a:r>
              <a:rPr lang="nb-NO" sz="1050" b="1" dirty="0">
                <a:solidFill>
                  <a:prstClr val="black"/>
                </a:solidFill>
              </a:rPr>
              <a:t>Leveranser i 2017:</a:t>
            </a:r>
          </a:p>
        </p:txBody>
      </p:sp>
      <p:sp>
        <p:nvSpPr>
          <p:cNvPr id="8" name="TekstSylinder 7"/>
          <p:cNvSpPr txBox="1"/>
          <p:nvPr/>
        </p:nvSpPr>
        <p:spPr>
          <a:xfrm>
            <a:off x="236951" y="1169456"/>
            <a:ext cx="5584887" cy="57217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spAutoFit/>
          </a:bodyPr>
          <a:lstStyle/>
          <a:p>
            <a:r>
              <a:rPr lang="nb-NO" sz="1200" b="1" dirty="0">
                <a:solidFill>
                  <a:prstClr val="black"/>
                </a:solidFill>
              </a:rPr>
              <a:t>Prosjekt- / programnavn: </a:t>
            </a:r>
            <a:r>
              <a:rPr lang="nb-NO" sz="1200" dirty="0">
                <a:solidFill>
                  <a:prstClr val="black"/>
                </a:solidFill>
              </a:rPr>
              <a:t>&lt;Navn på prosjekt/program&gt;</a:t>
            </a:r>
            <a:endParaRPr lang="nb-NO" sz="1200" b="1" dirty="0">
              <a:solidFill>
                <a:prstClr val="black"/>
              </a:solidFill>
            </a:endParaRPr>
          </a:p>
          <a:p>
            <a:r>
              <a:rPr lang="nb-NO" sz="1200" b="1" dirty="0">
                <a:solidFill>
                  <a:prstClr val="black"/>
                </a:solidFill>
              </a:rPr>
              <a:t>Prosjekteier: 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  <a:p>
            <a:r>
              <a:rPr lang="nb-NO" sz="1200" b="1" dirty="0">
                <a:solidFill>
                  <a:prstClr val="black"/>
                </a:solidFill>
              </a:rPr>
              <a:t>Prosjektleder: </a:t>
            </a:r>
            <a:r>
              <a:rPr lang="nb-NO" sz="1200" dirty="0">
                <a:solidFill>
                  <a:prstClr val="black"/>
                </a:solidFill>
              </a:rPr>
              <a:t>&lt;Navn på person, tittel, virksomhet&gt;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236951" y="5589240"/>
            <a:ext cx="8669426" cy="1124832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rmAutofit/>
          </a:bodyPr>
          <a:lstStyle/>
          <a:p>
            <a:r>
              <a:rPr lang="nb-NO" sz="1050" b="1" dirty="0">
                <a:solidFill>
                  <a:prstClr val="black"/>
                </a:solidFill>
              </a:rPr>
              <a:t>Legg inn navn på styringsdokument som er vedlagt i egne filer(gjelder nye prosjekter for 2017):</a:t>
            </a:r>
          </a:p>
          <a:p>
            <a:r>
              <a:rPr lang="nb-NO" sz="1050" dirty="0">
                <a:solidFill>
                  <a:prstClr val="black"/>
                </a:solidFill>
              </a:rPr>
              <a:t>Alle nye prosjekter og programmer som meldes til nasjonal e-helseportefølje for 2017  skal legge ved oppdatert og godkjent styringsdokumentasjon.</a:t>
            </a:r>
          </a:p>
          <a:p>
            <a:r>
              <a:rPr lang="nb-NO" sz="1050" dirty="0">
                <a:solidFill>
                  <a:prstClr val="black"/>
                </a:solidFill>
              </a:rPr>
              <a:t>Avhengig av hvilket beslutningspunkt prosjektet har nådd skal følgende styringsdokumentasjon skal legges ved:</a:t>
            </a:r>
          </a:p>
          <a:p>
            <a:pPr marL="171450" indent="-171450">
              <a:buFontTx/>
              <a:buChar char="-"/>
            </a:pPr>
            <a:r>
              <a:rPr lang="nb-NO" sz="1050" dirty="0">
                <a:solidFill>
                  <a:prstClr val="black"/>
                </a:solidFill>
              </a:rPr>
              <a:t>For BP 1: Prosjektmandat</a:t>
            </a:r>
          </a:p>
          <a:p>
            <a:pPr marL="171450" indent="-171450">
              <a:buFontTx/>
              <a:buChar char="-"/>
            </a:pPr>
            <a:r>
              <a:rPr lang="nb-NO" sz="1050" dirty="0">
                <a:solidFill>
                  <a:prstClr val="black"/>
                </a:solidFill>
              </a:rPr>
              <a:t>For BP 2: Prosjektforslag med relevante vedlegg, </a:t>
            </a:r>
            <a:r>
              <a:rPr lang="nb-NO" sz="1050" dirty="0" err="1">
                <a:solidFill>
                  <a:prstClr val="black"/>
                </a:solidFill>
              </a:rPr>
              <a:t>inkl</a:t>
            </a:r>
            <a:r>
              <a:rPr lang="nb-NO" sz="1050" dirty="0">
                <a:solidFill>
                  <a:prstClr val="black"/>
                </a:solidFill>
              </a:rPr>
              <a:t> Prosjektbegrunnelse (Business case)</a:t>
            </a:r>
          </a:p>
          <a:p>
            <a:pPr marL="171450" indent="-171450">
              <a:buFontTx/>
              <a:buChar char="-"/>
            </a:pPr>
            <a:r>
              <a:rPr lang="nb-NO" sz="1050" dirty="0">
                <a:solidFill>
                  <a:prstClr val="black"/>
                </a:solidFill>
              </a:rPr>
              <a:t>For BP 3: Styringsdokumentasjon med relevante vedlegg, </a:t>
            </a:r>
            <a:r>
              <a:rPr lang="nb-NO" sz="1050" dirty="0" err="1">
                <a:solidFill>
                  <a:prstClr val="black"/>
                </a:solidFill>
              </a:rPr>
              <a:t>inkl</a:t>
            </a:r>
            <a:r>
              <a:rPr lang="nb-NO" sz="1050" dirty="0">
                <a:solidFill>
                  <a:prstClr val="black"/>
                </a:solidFill>
              </a:rPr>
              <a:t> oppdatert Prosjektbegrunnelse (Business case)</a:t>
            </a:r>
          </a:p>
          <a:p>
            <a:endParaRPr lang="nb-NO" sz="1050" dirty="0">
              <a:solidFill>
                <a:prstClr val="black"/>
              </a:solidFill>
            </a:endParaRPr>
          </a:p>
        </p:txBody>
      </p:sp>
      <p:graphicFrame>
        <p:nvGraphicFramePr>
          <p:cNvPr id="10" name="Tabell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0329821"/>
              </p:ext>
            </p:extLst>
          </p:nvPr>
        </p:nvGraphicFramePr>
        <p:xfrm>
          <a:off x="179517" y="3499026"/>
          <a:ext cx="8784971" cy="10646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709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93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018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7972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080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576064">
                <a:tc>
                  <a:txBody>
                    <a:bodyPr/>
                    <a:lstStyle/>
                    <a:p>
                      <a:r>
                        <a:rPr lang="nb-NO" sz="1100" dirty="0">
                          <a:latin typeface="+mj-lt"/>
                        </a:rPr>
                        <a:t>I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100" dirty="0">
                          <a:latin typeface="+mj-lt"/>
                        </a:rPr>
                        <a:t>Prosjekt-/programnav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nb-NO" sz="1100" dirty="0">
                          <a:latin typeface="+mj-lt"/>
                        </a:rPr>
                        <a:t>Budsjett-estimat 2017 (MNOK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E-hels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HDI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RHF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NIK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Kommune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FHI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NHN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Fastlege (takst-</a:t>
                      </a:r>
                      <a:r>
                        <a:rPr lang="nb-NO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forh</a:t>
                      </a:r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.)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Andre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0326"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nb-NO" sz="1100" dirty="0">
                        <a:latin typeface="+mj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TekstSylinder 10"/>
          <p:cNvSpPr txBox="1"/>
          <p:nvPr/>
        </p:nvSpPr>
        <p:spPr>
          <a:xfrm>
            <a:off x="236951" y="4797152"/>
            <a:ext cx="8669426" cy="699126"/>
          </a:xfrm>
          <a:prstGeom prst="rect">
            <a:avLst/>
          </a:prstGeom>
          <a:ln w="19050">
            <a:solidFill>
              <a:schemeClr val="accent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54000" tIns="18000" rIns="36000" bIns="0" rtlCol="0">
            <a:normAutofit/>
          </a:bodyPr>
          <a:lstStyle/>
          <a:p>
            <a:r>
              <a:rPr lang="nb-NO" sz="1050" b="1" dirty="0">
                <a:solidFill>
                  <a:prstClr val="black"/>
                </a:solidFill>
              </a:rPr>
              <a:t>Eventuelle kommentarer knyttet til budsjettestimat for 2017 og fordeling av finansiering (tabellen over).</a:t>
            </a:r>
            <a:endParaRPr lang="nb-NO" sz="1050" dirty="0">
              <a:solidFill>
                <a:prstClr val="black"/>
              </a:solidFill>
            </a:endParaRPr>
          </a:p>
          <a:p>
            <a:endParaRPr lang="nb-NO" sz="1050" dirty="0">
              <a:solidFill>
                <a:prstClr val="black"/>
              </a:solidFill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4126055" y="3123552"/>
            <a:ext cx="4824785" cy="3600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dirty="0">
                <a:solidFill>
                  <a:schemeClr val="tx2"/>
                </a:solidFill>
              </a:rPr>
              <a:t>Fordeling av finansiering 2017  (MNOK)</a:t>
            </a:r>
          </a:p>
          <a:p>
            <a:pPr algn="ctr"/>
            <a:r>
              <a:rPr lang="nb-NO" sz="1200" i="1" dirty="0">
                <a:solidFill>
                  <a:schemeClr val="tx2"/>
                </a:solidFill>
              </a:rPr>
              <a:t>(NB: Kun tall som er forankret med relevant aktør skal legges inn)</a:t>
            </a:r>
          </a:p>
        </p:txBody>
      </p:sp>
    </p:spTree>
    <p:extLst>
      <p:ext uri="{BB962C8B-B14F-4D97-AF65-F5344CB8AC3E}">
        <p14:creationId xmlns:p14="http://schemas.microsoft.com/office/powerpoint/2010/main" val="5702754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/>
        </p:nvSpPr>
        <p:spPr>
          <a:xfrm>
            <a:off x="362980" y="1269874"/>
            <a:ext cx="6873316" cy="329374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64008" tIns="32004" rIns="64008" bIns="32004" rtlCol="0" anchor="ctr"/>
          <a:lstStyle/>
          <a:p>
            <a:pPr algn="ctr"/>
            <a:endParaRPr lang="nb-NO">
              <a:solidFill>
                <a:prstClr val="black"/>
              </a:solidFill>
            </a:endParaRPr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467544" y="1052736"/>
            <a:ext cx="5583709" cy="3760713"/>
          </a:xfrm>
        </p:spPr>
        <p:txBody>
          <a:bodyPr>
            <a:normAutofit/>
          </a:bodyPr>
          <a:lstStyle/>
          <a:p>
            <a:pPr lvl="2"/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dirty="0"/>
              <a:t>Fornye</a:t>
            </a:r>
            <a:r>
              <a:rPr lang="nb-NO" sz="1400" dirty="0"/>
              <a:t>: Løse samfunnsoppdraget på ny/bedre måte, vesentlig endring i samhandling eller pros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dirty="0"/>
              <a:t>Forbedre</a:t>
            </a:r>
            <a:r>
              <a:rPr lang="nb-NO" sz="1400" dirty="0"/>
              <a:t>: Videreutvikle eksisterende tjenester, forbedre prosesser (kvalitet og ressursforbru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dirty="0"/>
              <a:t>Modernisere</a:t>
            </a:r>
            <a:r>
              <a:rPr lang="nb-NO" sz="1400" dirty="0"/>
              <a:t>: Utvikle felleskomponenter og andre gjenbrukbare investerin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b="1" dirty="0"/>
              <a:t>Ivareta</a:t>
            </a:r>
            <a:r>
              <a:rPr lang="nb-NO" sz="1400" dirty="0"/>
              <a:t> og sikre: Regulatoriske krav, videreføre eksisterende oppgaveløsning med akseptabel risiko</a:t>
            </a:r>
          </a:p>
          <a:p>
            <a:pPr lvl="1"/>
            <a:endParaRPr lang="nb-NO" sz="1400" dirty="0"/>
          </a:p>
          <a:p>
            <a:endParaRPr lang="nb-NO" sz="2000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>
                <a:solidFill>
                  <a:srgbClr val="2C4457"/>
                </a:solidFill>
              </a:rPr>
              <a:pPr/>
              <a:t>8</a:t>
            </a:fld>
            <a:endParaRPr lang="nb-NO" dirty="0">
              <a:solidFill>
                <a:srgbClr val="2C4457"/>
              </a:solidFill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395536" y="358568"/>
            <a:ext cx="6248432" cy="537297"/>
          </a:xfrm>
        </p:spPr>
        <p:txBody>
          <a:bodyPr>
            <a:noAutofit/>
          </a:bodyPr>
          <a:lstStyle/>
          <a:p>
            <a:pPr lvl="1"/>
            <a:r>
              <a:rPr lang="nb-NO" sz="2000" dirty="0"/>
              <a:t>Forklaring på Type investering</a:t>
            </a:r>
            <a:endParaRPr lang="nb-NO" sz="2000" b="1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3414" y="1269873"/>
            <a:ext cx="1743082" cy="3293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54686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izCDI3sCkiGOfdTrEEhRg"/>
</p:tagLst>
</file>

<file path=ppt/theme/theme1.xml><?xml version="1.0" encoding="utf-8"?>
<a:theme xmlns:a="http://schemas.openxmlformats.org/drawingml/2006/main" name="5_Office-tema">
  <a:themeElements>
    <a:clrScheme name="Helsedirektoratet">
      <a:dk1>
        <a:sysClr val="windowText" lastClr="000000"/>
      </a:dk1>
      <a:lt1>
        <a:sysClr val="window" lastClr="FFFFFF"/>
      </a:lt1>
      <a:dk2>
        <a:srgbClr val="004E66"/>
      </a:dk2>
      <a:lt2>
        <a:srgbClr val="AEABA8"/>
      </a:lt2>
      <a:accent1>
        <a:srgbClr val="0093A8"/>
      </a:accent1>
      <a:accent2>
        <a:srgbClr val="A2BF37"/>
      </a:accent2>
      <a:accent3>
        <a:srgbClr val="F4D018"/>
      </a:accent3>
      <a:accent4>
        <a:srgbClr val="6CB5B6"/>
      </a:accent4>
      <a:accent5>
        <a:srgbClr val="DF9920"/>
      </a:accent5>
      <a:accent6>
        <a:srgbClr val="C73429"/>
      </a:accent6>
      <a:hlink>
        <a:srgbClr val="CA4470"/>
      </a:hlink>
      <a:folHlink>
        <a:srgbClr val="76428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owerpointmal">
  <a:themeElements>
    <a:clrScheme name="Powerpointmal 9">
      <a:dk1>
        <a:srgbClr val="080808"/>
      </a:dk1>
      <a:lt1>
        <a:srgbClr val="FFFFFF"/>
      </a:lt1>
      <a:dk2>
        <a:srgbClr val="000000"/>
      </a:dk2>
      <a:lt2>
        <a:srgbClr val="B3DEE3"/>
      </a:lt2>
      <a:accent1>
        <a:srgbClr val="00468C"/>
      </a:accent1>
      <a:accent2>
        <a:srgbClr val="D0D0D0"/>
      </a:accent2>
      <a:accent3>
        <a:srgbClr val="FFFFFF"/>
      </a:accent3>
      <a:accent4>
        <a:srgbClr val="060606"/>
      </a:accent4>
      <a:accent5>
        <a:srgbClr val="AAB0C5"/>
      </a:accent5>
      <a:accent6>
        <a:srgbClr val="BCBCBC"/>
      </a:accent6>
      <a:hlink>
        <a:srgbClr val="0096CC"/>
      </a:hlink>
      <a:folHlink>
        <a:srgbClr val="969696"/>
      </a:folHlink>
    </a:clrScheme>
    <a:fontScheme name="Powerpointmal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owerpointmal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2">
        <a:dk1>
          <a:srgbClr val="292929"/>
        </a:dk1>
        <a:lt1>
          <a:srgbClr val="FFFFFF"/>
        </a:lt1>
        <a:dk2>
          <a:srgbClr val="000000"/>
        </a:dk2>
        <a:lt2>
          <a:srgbClr val="F0CD96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212121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F0CD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3">
        <a:dk1>
          <a:srgbClr val="292929"/>
        </a:dk1>
        <a:lt1>
          <a:srgbClr val="FFFFFF"/>
        </a:lt1>
        <a:dk2>
          <a:srgbClr val="000000"/>
        </a:dk2>
        <a:lt2>
          <a:srgbClr val="F0CD96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212121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4">
        <a:dk1>
          <a:srgbClr val="4F7F97"/>
        </a:dk1>
        <a:lt1>
          <a:srgbClr val="FFFFFF"/>
        </a:lt1>
        <a:dk2>
          <a:srgbClr val="000000"/>
        </a:dk2>
        <a:lt2>
          <a:srgbClr val="9FD5D9"/>
        </a:lt2>
        <a:accent1>
          <a:srgbClr val="B4AA82"/>
        </a:accent1>
        <a:accent2>
          <a:srgbClr val="D0D0D0"/>
        </a:accent2>
        <a:accent3>
          <a:srgbClr val="FFFFFF"/>
        </a:accent3>
        <a:accent4>
          <a:srgbClr val="426C80"/>
        </a:accent4>
        <a:accent5>
          <a:srgbClr val="D6D2C1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5">
        <a:dk1>
          <a:srgbClr val="080808"/>
        </a:dk1>
        <a:lt1>
          <a:srgbClr val="FFFFFF"/>
        </a:lt1>
        <a:dk2>
          <a:srgbClr val="000000"/>
        </a:dk2>
        <a:lt2>
          <a:srgbClr val="9FD5D9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96C0BE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6">
        <a:dk1>
          <a:srgbClr val="080808"/>
        </a:dk1>
        <a:lt1>
          <a:srgbClr val="FFFFFF"/>
        </a:lt1>
        <a:dk2>
          <a:srgbClr val="000000"/>
        </a:dk2>
        <a:lt2>
          <a:srgbClr val="9FD5D9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ACDCF0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7">
        <a:dk1>
          <a:srgbClr val="080808"/>
        </a:dk1>
        <a:lt1>
          <a:srgbClr val="FFFFFF"/>
        </a:lt1>
        <a:dk2>
          <a:srgbClr val="000000"/>
        </a:dk2>
        <a:lt2>
          <a:srgbClr val="006698"/>
        </a:lt2>
        <a:accent1>
          <a:srgbClr val="4F7F97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B2C0C9"/>
        </a:accent5>
        <a:accent6>
          <a:srgbClr val="BCBCBC"/>
        </a:accent6>
        <a:hlink>
          <a:srgbClr val="ACDCF0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8">
        <a:dk1>
          <a:srgbClr val="080808"/>
        </a:dk1>
        <a:lt1>
          <a:srgbClr val="FFFFFF"/>
        </a:lt1>
        <a:dk2>
          <a:srgbClr val="000000"/>
        </a:dk2>
        <a:lt2>
          <a:srgbClr val="00468C"/>
        </a:lt2>
        <a:accent1>
          <a:srgbClr val="B3DEE3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D6ECEF"/>
        </a:accent5>
        <a:accent6>
          <a:srgbClr val="BCBCBC"/>
        </a:accent6>
        <a:hlink>
          <a:srgbClr val="0096CC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mal 9">
        <a:dk1>
          <a:srgbClr val="080808"/>
        </a:dk1>
        <a:lt1>
          <a:srgbClr val="FFFFFF"/>
        </a:lt1>
        <a:dk2>
          <a:srgbClr val="000000"/>
        </a:dk2>
        <a:lt2>
          <a:srgbClr val="B3DEE3"/>
        </a:lt2>
        <a:accent1>
          <a:srgbClr val="00468C"/>
        </a:accent1>
        <a:accent2>
          <a:srgbClr val="D0D0D0"/>
        </a:accent2>
        <a:accent3>
          <a:srgbClr val="FFFFFF"/>
        </a:accent3>
        <a:accent4>
          <a:srgbClr val="060606"/>
        </a:accent4>
        <a:accent5>
          <a:srgbClr val="AAB0C5"/>
        </a:accent5>
        <a:accent6>
          <a:srgbClr val="BCBCBC"/>
        </a:accent6>
        <a:hlink>
          <a:srgbClr val="0096CC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SPA_mål og leveranser 2016.02">
  <a:themeElements>
    <a:clrScheme name="Dir e-helse">
      <a:dk1>
        <a:sysClr val="windowText" lastClr="000000"/>
      </a:dk1>
      <a:lt1>
        <a:sysClr val="window" lastClr="FFFFFF"/>
      </a:lt1>
      <a:dk2>
        <a:srgbClr val="2C4457"/>
      </a:dk2>
      <a:lt2>
        <a:srgbClr val="F0F0F0"/>
      </a:lt2>
      <a:accent1>
        <a:srgbClr val="0069E8"/>
      </a:accent1>
      <a:accent2>
        <a:srgbClr val="281C2C"/>
      </a:accent2>
      <a:accent3>
        <a:srgbClr val="037A94"/>
      </a:accent3>
      <a:accent4>
        <a:srgbClr val="00BCD5"/>
      </a:accent4>
      <a:accent5>
        <a:srgbClr val="FF676A"/>
      </a:accent5>
      <a:accent6>
        <a:srgbClr val="EADFDF"/>
      </a:accent6>
      <a:hlink>
        <a:srgbClr val="00A8D7"/>
      </a:hlink>
      <a:folHlink>
        <a:srgbClr val="39FF9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Direktoratet_EhelseV1.potx" id="{C35A806E-BACF-4289-BD8B-D06AF648F8A9}" vid="{D773CEB8-4479-4353-A549-F0C97AE54CED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DD67D9B0C14304BB7C0C97CDBB7F7B6" ma:contentTypeVersion="1" ma:contentTypeDescription="Opprett et nytt dokument." ma:contentTypeScope="" ma:versionID="646c93a96d3a33da71fab665c374da24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90c0180eee9ee720d3a6c588d300bb7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lagt startdato" ma:description="Planlagt startdato er en områdekolonne som opprettes av publiseringsfunksjonen. Den brukes til å angi dato og klokkeslett for når denne siden vises for første gang for besøkende på området." ma:hidden="true" ma:internalName="PublishingStartDate">
      <xsd:simpleType>
        <xsd:restriction base="dms:Unknown"/>
      </xsd:simpleType>
    </xsd:element>
    <xsd:element name="PublishingExpirationDate" ma:index="9" nillable="true" ma:displayName="Planlagt utløpsdato" ma:description="Planlagt sluttdato er en områdekolonne som opprettes av publiseringsfunksjonen. Den brukes til å angi dato og klokkeslett for når denne siden ikke lenger vises for besøkende på området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B28725E-B827-4F1F-B76E-2FFAFED095E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8E46FF0-B281-41D3-A30A-97DAF1928444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E76BBC7-5AE2-48F1-9B8A-73C7A06D92D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4_3_NO</Template>
  <TotalTime>27360</TotalTime>
  <Words>1062</Words>
  <Application>Microsoft Office PowerPoint</Application>
  <PresentationFormat>Skjermfremvisning (4:3)</PresentationFormat>
  <Paragraphs>190</Paragraphs>
  <Slides>8</Slides>
  <Notes>5</Notes>
  <HiddenSlides>0</HiddenSlides>
  <MMClips>0</MMClips>
  <ScaleCrop>false</ScaleCrop>
  <HeadingPairs>
    <vt:vector size="6" baseType="variant">
      <vt:variant>
        <vt:lpstr>Brukte skrifter</vt:lpstr>
      </vt:variant>
      <vt:variant>
        <vt:i4>9</vt:i4>
      </vt:variant>
      <vt:variant>
        <vt:lpstr>Tema</vt:lpstr>
      </vt:variant>
      <vt:variant>
        <vt:i4>4</vt:i4>
      </vt:variant>
      <vt:variant>
        <vt:lpstr>Lysbildetitler</vt:lpstr>
      </vt:variant>
      <vt:variant>
        <vt:i4>8</vt:i4>
      </vt:variant>
    </vt:vector>
  </HeadingPairs>
  <TitlesOfParts>
    <vt:vector size="21" baseType="lpstr">
      <vt:lpstr>ＭＳ Ｐゴシック</vt:lpstr>
      <vt:lpstr>ＭＳ Ｐゴシック</vt:lpstr>
      <vt:lpstr>Arial</vt:lpstr>
      <vt:lpstr>Arial Narrow</vt:lpstr>
      <vt:lpstr>Calibri</vt:lpstr>
      <vt:lpstr>Graphik Semibold</vt:lpstr>
      <vt:lpstr>Symbol</vt:lpstr>
      <vt:lpstr>Wingdings</vt:lpstr>
      <vt:lpstr>ヒラギノ角ゴシック W2</vt:lpstr>
      <vt:lpstr>5_Office-tema</vt:lpstr>
      <vt:lpstr>Powerpointmal</vt:lpstr>
      <vt:lpstr>2_Office-tema</vt:lpstr>
      <vt:lpstr>SPA_mål og leveranser 2016.02</vt:lpstr>
      <vt:lpstr>Mal for prosjektinfo og statusoppdatering til nasjonale fora </vt:lpstr>
      <vt:lpstr>Endring i mal siden april 2016</vt:lpstr>
      <vt:lpstr>Innhold</vt:lpstr>
      <vt:lpstr>PowerPoint-presentasjon</vt:lpstr>
      <vt:lpstr>PowerPoint-presentasjon</vt:lpstr>
      <vt:lpstr>PowerPoint-presentasjon</vt:lpstr>
      <vt:lpstr>Utfyllende informasjon angående 2018 (gjelder både nye og videreførte prosjekter og programmer)</vt:lpstr>
      <vt:lpstr>Forklaring på Type investering</vt:lpstr>
    </vt:vector>
  </TitlesOfParts>
  <Company>Helsedirektorat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sjonal handlingsplan for e-helse</dc:title>
  <dc:creator>Norunn Elin Saure</dc:creator>
  <cp:lastModifiedBy>Ingvill Eriksen</cp:lastModifiedBy>
  <cp:revision>1734</cp:revision>
  <cp:lastPrinted>2014-12-09T08:23:24Z</cp:lastPrinted>
  <dcterms:created xsi:type="dcterms:W3CDTF">2013-06-16T15:14:31Z</dcterms:created>
  <dcterms:modified xsi:type="dcterms:W3CDTF">2019-04-03T08:17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D67D9B0C14304BB7C0C97CDBB7F7B6</vt:lpwstr>
  </property>
</Properties>
</file>